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380" r:id="rId2"/>
    <p:sldId id="381" r:id="rId3"/>
    <p:sldId id="280" r:id="rId4"/>
    <p:sldId id="382" r:id="rId5"/>
    <p:sldId id="383" r:id="rId6"/>
    <p:sldId id="303" r:id="rId7"/>
    <p:sldId id="304" r:id="rId8"/>
    <p:sldId id="296" r:id="rId9"/>
    <p:sldId id="300" r:id="rId10"/>
    <p:sldId id="305" r:id="rId11"/>
    <p:sldId id="306" r:id="rId12"/>
    <p:sldId id="378" r:id="rId13"/>
    <p:sldId id="379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96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68" userDrawn="1">
          <p15:clr>
            <a:srgbClr val="A4A3A4"/>
          </p15:clr>
        </p15:guide>
        <p15:guide id="4" pos="7512" userDrawn="1">
          <p15:clr>
            <a:srgbClr val="A4A3A4"/>
          </p15:clr>
        </p15:guide>
        <p15:guide id="5" orient="horz" pos="4008" userDrawn="1">
          <p15:clr>
            <a:srgbClr val="A4A3A4"/>
          </p15:clr>
        </p15:guide>
        <p15:guide id="6" orient="horz" pos="235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B6B"/>
    <a:srgbClr val="D9D9D9"/>
    <a:srgbClr val="280E32"/>
    <a:srgbClr val="556270"/>
    <a:srgbClr val="2E1437"/>
    <a:srgbClr val="948E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E3BD94-712E-49E8-B99E-EF26DB24CD1C}" v="66" dt="2019-07-07T06:56:31.147"/>
    <p1510:client id="{9F1BB36C-B736-49E0-B2EA-787E7ADC4E32}" v="88" dt="2019-09-04T17:53:00.180"/>
    <p1510:client id="{BA32C252-A446-4E6A-B6FA-A4C921225E8A}" v="1" dt="2019-07-06T16:32:00.497"/>
    <p1510:client id="{DA35E673-B111-4D50-8C23-570B329695FB}" v="6" dt="2019-07-07T07:10:24.80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696"/>
        <p:guide pos="3840"/>
        <p:guide pos="168"/>
        <p:guide pos="7512"/>
        <p:guide orient="horz" pos="4008"/>
        <p:guide orient="horz" pos="2352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D564AC-8C04-43F5-B0D5-0B17C27E0E5B}" type="datetimeFigureOut">
              <a:rPr lang="en-US" smtClean="0"/>
              <a:t>9/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4A6E9B-EAC0-42DB-A7DB-C098814DC4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1026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3577CB-5651-4F7E-826B-F02F6FA255D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9875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29EDB-71EC-4364-B899-B56C16D151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553911-3BCE-4DDC-8424-6B06FF964A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110B89-5F19-4463-ACBF-5A59B129E7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9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9764F9-0E20-4ABD-AE78-1A6376993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2828EF-4606-45C4-A466-54E5C32F4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9268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E3B1AE-8E01-4CF6-BF33-266D05137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D4171E9-279A-44CA-83F8-239793B865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460DF3-65F4-4325-B68F-3319C559B0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9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6CE690-5550-4C69-AE2E-518FD643B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6ADD0-6FD9-4AEF-BF93-762239A39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6363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B3633B5-0965-4B9F-8B2A-BA9E10C7C96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3E309F1-6B7E-4632-81CA-D7EC3F38A2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4D8124-CADE-4E3B-A6E7-B25E5073F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9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330A94-883D-4809-B5CD-60FB32805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73942E-4193-4484-B176-3A30F7ED10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5922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32BFC978-B996-459D-BCF0-F22C2E413C01}"/>
              </a:ext>
            </a:extLst>
          </p:cNvPr>
          <p:cNvGrpSpPr/>
          <p:nvPr userDrawn="1"/>
        </p:nvGrpSpPr>
        <p:grpSpPr>
          <a:xfrm>
            <a:off x="-593721" y="3690907"/>
            <a:ext cx="3604881" cy="4440403"/>
            <a:chOff x="-593721" y="3690907"/>
            <a:chExt cx="3604881" cy="4440403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A553C576-F934-4166-AB17-344413522F1F}"/>
                </a:ext>
              </a:extLst>
            </p:cNvPr>
            <p:cNvSpPr/>
            <p:nvPr/>
          </p:nvSpPr>
          <p:spPr>
            <a:xfrm rot="18900000">
              <a:off x="-593721" y="4583741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C5B5652C-1DC8-4D78-B762-3A80D5B57344}"/>
                </a:ext>
              </a:extLst>
            </p:cNvPr>
            <p:cNvSpPr/>
            <p:nvPr/>
          </p:nvSpPr>
          <p:spPr>
            <a:xfrm rot="18900000">
              <a:off x="-593720" y="6369410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EDA7A6C2-4EEE-4AC8-9A1B-741C1DE2E446}"/>
                </a:ext>
              </a:extLst>
            </p:cNvPr>
            <p:cNvSpPr/>
            <p:nvPr/>
          </p:nvSpPr>
          <p:spPr>
            <a:xfrm rot="18900000">
              <a:off x="531546" y="3690907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0BE8859B-D620-4D3F-88BD-169E8E728135}"/>
                </a:ext>
              </a:extLst>
            </p:cNvPr>
            <p:cNvSpPr/>
            <p:nvPr/>
          </p:nvSpPr>
          <p:spPr>
            <a:xfrm rot="18900000">
              <a:off x="531547" y="5476576"/>
              <a:ext cx="1354347" cy="1354347"/>
            </a:xfrm>
            <a:prstGeom prst="roundRect">
              <a:avLst/>
            </a:prstGeom>
            <a:noFill/>
            <a:ln>
              <a:solidFill>
                <a:srgbClr val="1AA3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A08C0260-EDCE-41B7-A5E8-932C42F5D4ED}"/>
                </a:ext>
              </a:extLst>
            </p:cNvPr>
            <p:cNvSpPr/>
            <p:nvPr/>
          </p:nvSpPr>
          <p:spPr>
            <a:xfrm rot="18900000">
              <a:off x="1656812" y="4583741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E6FAD573-7540-407E-A530-DB6CA6A80BDC}"/>
                </a:ext>
              </a:extLst>
            </p:cNvPr>
            <p:cNvSpPr/>
            <p:nvPr/>
          </p:nvSpPr>
          <p:spPr>
            <a:xfrm rot="18900000">
              <a:off x="1656813" y="6369410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BC9E3436-BF30-4145-A538-A38F2EF9D385}"/>
                </a:ext>
              </a:extLst>
            </p:cNvPr>
            <p:cNvSpPr/>
            <p:nvPr/>
          </p:nvSpPr>
          <p:spPr>
            <a:xfrm rot="18900000">
              <a:off x="123991" y="5961858"/>
              <a:ext cx="2169452" cy="2169452"/>
            </a:xfrm>
            <a:prstGeom prst="roundRect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EF9B11AE-6FB6-4B87-8E89-E1D065DB0E34}"/>
              </a:ext>
            </a:extLst>
          </p:cNvPr>
          <p:cNvSpPr/>
          <p:nvPr userDrawn="1"/>
        </p:nvSpPr>
        <p:spPr>
          <a:xfrm>
            <a:off x="0" y="3429000"/>
            <a:ext cx="4432300" cy="3429000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437C02-0FE9-4694-A7B5-DAA2E7F92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8F56C0-0FED-4FC9-A8FD-8409CAAB40D2}" type="datetimeFigureOut">
              <a:rPr lang="en-US" smtClean="0"/>
              <a:t>9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259E44-CD78-4CC7-8AA4-C4FF8D3688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53EE96-960C-45FC-BB52-209ED2441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DEBBE-1EFA-4D2E-88F5-083B206EF4A4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D2EF540-DE6E-4F6A-A782-50F96103DA3E}"/>
              </a:ext>
            </a:extLst>
          </p:cNvPr>
          <p:cNvSpPr/>
          <p:nvPr userDrawn="1"/>
        </p:nvSpPr>
        <p:spPr>
          <a:xfrm>
            <a:off x="11747500" y="366740"/>
            <a:ext cx="444500" cy="444500"/>
          </a:xfrm>
          <a:prstGeom prst="rect">
            <a:avLst/>
          </a:prstGeom>
          <a:solidFill>
            <a:srgbClr val="F6AF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0731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B000C-FC65-46E4-B365-8E7245F1D2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F9028A-40EC-4A2A-9587-F9196CEDF0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378938-3B43-4BD8-9B86-588F5985CE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9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7B7BF8-9AA5-48A4-A9D7-4366B05E0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DD3802-5EB8-4E8B-8AD0-2FD075A78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6799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24C5CC-F85E-4997-AF07-BD70FABC5E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E501C4-31F4-4A4C-ABA2-4BD5A399EA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CB9732-B20A-4118-A45C-52C4DE0D49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9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6E6101-1A57-46A5-8C07-7369B50A22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53DDFB-8758-4DD7-A559-F726FA025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0929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B4FC09-E94D-4DC0-994C-37AD579178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9/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C78D5F-2263-4CC4-9EFB-D379A3374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16E6F9-B663-447A-A5C1-84F6C4E4E5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rame 7">
            <a:extLst>
              <a:ext uri="{FF2B5EF4-FFF2-40B4-BE49-F238E27FC236}">
                <a16:creationId xmlns:a16="http://schemas.microsoft.com/office/drawing/2014/main" id="{2CFE7B1B-BD4C-4BB4-87EE-2541304459AB}"/>
              </a:ext>
            </a:extLst>
          </p:cNvPr>
          <p:cNvSpPr/>
          <p:nvPr userDrawn="1"/>
        </p:nvSpPr>
        <p:spPr>
          <a:xfrm rot="1800000">
            <a:off x="8308922" y="4678937"/>
            <a:ext cx="3426042" cy="3426042"/>
          </a:xfrm>
          <a:prstGeom prst="frame">
            <a:avLst>
              <a:gd name="adj1" fmla="val 7637"/>
            </a:avLst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53478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AAC8CEE-581D-45BE-ADF6-D8CFE140C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9/4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D7AE28F-6A23-42BA-8C40-F0F2D5905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AABA364-086D-404F-A888-000736C48C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rame 9">
            <a:extLst>
              <a:ext uri="{FF2B5EF4-FFF2-40B4-BE49-F238E27FC236}">
                <a16:creationId xmlns:a16="http://schemas.microsoft.com/office/drawing/2014/main" id="{1DD6419E-422B-42A1-8723-DD27E834A236}"/>
              </a:ext>
            </a:extLst>
          </p:cNvPr>
          <p:cNvSpPr/>
          <p:nvPr userDrawn="1"/>
        </p:nvSpPr>
        <p:spPr>
          <a:xfrm rot="1800000">
            <a:off x="-1102789" y="-1501715"/>
            <a:ext cx="3232961" cy="3232961"/>
          </a:xfrm>
          <a:prstGeom prst="frame">
            <a:avLst>
              <a:gd name="adj1" fmla="val 763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56873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4343A1-0FDF-4F14-A155-E0823B90BE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9/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4015D4-880B-44A2-8284-999B901DF6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E02496-5939-4261-9B5C-15A7C630ED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rame 5">
            <a:extLst>
              <a:ext uri="{FF2B5EF4-FFF2-40B4-BE49-F238E27FC236}">
                <a16:creationId xmlns:a16="http://schemas.microsoft.com/office/drawing/2014/main" id="{13D5F096-646B-43E9-BDA8-13CF312D7DB3}"/>
              </a:ext>
            </a:extLst>
          </p:cNvPr>
          <p:cNvSpPr/>
          <p:nvPr userDrawn="1"/>
        </p:nvSpPr>
        <p:spPr>
          <a:xfrm rot="1800000">
            <a:off x="8308922" y="4678937"/>
            <a:ext cx="3426042" cy="3426042"/>
          </a:xfrm>
          <a:prstGeom prst="frame">
            <a:avLst>
              <a:gd name="adj1" fmla="val 7637"/>
            </a:avLst>
          </a:prstGeom>
          <a:gradFill>
            <a:gsLst>
              <a:gs pos="0">
                <a:srgbClr val="948E99"/>
              </a:gs>
              <a:gs pos="100000">
                <a:srgbClr val="2E143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Frame 6">
            <a:extLst>
              <a:ext uri="{FF2B5EF4-FFF2-40B4-BE49-F238E27FC236}">
                <a16:creationId xmlns:a16="http://schemas.microsoft.com/office/drawing/2014/main" id="{9B1DE806-4DC5-4AE8-9931-3CEA21C7660B}"/>
              </a:ext>
            </a:extLst>
          </p:cNvPr>
          <p:cNvSpPr/>
          <p:nvPr userDrawn="1"/>
        </p:nvSpPr>
        <p:spPr>
          <a:xfrm rot="1800000">
            <a:off x="-929780" y="-2147393"/>
            <a:ext cx="4178300" cy="4178300"/>
          </a:xfrm>
          <a:prstGeom prst="frame">
            <a:avLst>
              <a:gd name="adj1" fmla="val 7637"/>
            </a:avLst>
          </a:prstGeom>
          <a:gradFill>
            <a:gsLst>
              <a:gs pos="0">
                <a:srgbClr val="FF6B6B"/>
              </a:gs>
              <a:gs pos="100000">
                <a:srgbClr val="2E143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3563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F70B3EA-DFB8-4822-9B1C-9F57F27574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9/4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CCAE47-3453-43A5-BAD3-6922C14F95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E86C5A-9763-499E-B37E-C11488BCCE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8772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291DFB-1A1C-4B17-8A96-6EA4E357E2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58101B-01D9-4BD0-9398-A5AE396DB4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847598-8721-4632-904B-02368FF500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DC3ABA8-B095-4C06-A97D-A97EFC2F99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9/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303D22-AE1D-447C-A704-7BC8A6DBFD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4C71C9-58FB-4338-84FA-A2ED7A2149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98779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A6E198-19EF-4711-95A3-036E589B0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690B0D2-238A-4087-8297-A3BD3C6E266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0DE49F-D3C1-417C-AD18-217FF0ED2A3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6E5ED9D-5477-47D1-BFB1-3CB3A13A24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9/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E35439-607F-4A73-8B10-0506B19C12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13414C-775E-45F2-980A-92F808AFC9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52649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2179D2B-7BC4-42F7-802C-B8C1935FC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55949B-811B-4575-8007-ECF4405126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E77501-9B17-4E7B-9DE0-EEB1451415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DFA0F7-84FD-46DF-989E-91FBE20BD392}" type="datetimeFigureOut">
              <a:rPr lang="en-US" smtClean="0"/>
              <a:t>9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9C4CD1-0889-4656-A939-7ED240FB12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093DA2-D9BC-4E23-9FE6-682F83C7C9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766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771A1A23-22BA-4037-8CF8-857D3A9F9A37}"/>
              </a:ext>
            </a:extLst>
          </p:cNvPr>
          <p:cNvCxnSpPr>
            <a:cxnSpLocks/>
          </p:cNvCxnSpPr>
          <p:nvPr/>
        </p:nvCxnSpPr>
        <p:spPr>
          <a:xfrm>
            <a:off x="9639300" y="3317316"/>
            <a:ext cx="2552700" cy="0"/>
          </a:xfrm>
          <a:prstGeom prst="line">
            <a:avLst/>
          </a:prstGeom>
          <a:ln>
            <a:solidFill>
              <a:srgbClr val="2E1437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83CBD94D-E078-4A95-A65C-0DD0BF737737}"/>
              </a:ext>
            </a:extLst>
          </p:cNvPr>
          <p:cNvSpPr/>
          <p:nvPr/>
        </p:nvSpPr>
        <p:spPr>
          <a:xfrm>
            <a:off x="8850313" y="5994400"/>
            <a:ext cx="2841624" cy="4064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2552700" y="2640208"/>
            <a:ext cx="7086600" cy="135421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/>
                <a:ea typeface="Segoe UI Black"/>
                <a:cs typeface="Segoe UI"/>
              </a:rPr>
              <a:t>WWW</a:t>
            </a:r>
            <a:endParaRPr lang="en-US" altLang="ko-KR" sz="8800" b="1">
              <a:solidFill>
                <a:schemeClr val="tx1">
                  <a:lumMod val="75000"/>
                  <a:lumOff val="25000"/>
                </a:schemeClr>
              </a:solidFill>
              <a:latin typeface="Segoe UI"/>
              <a:ea typeface="Segoe UI Black"/>
              <a:cs typeface="Segoe UI"/>
            </a:endParaRPr>
          </a:p>
        </p:txBody>
      </p:sp>
      <p:grpSp>
        <p:nvGrpSpPr>
          <p:cNvPr id="1033" name="Group 1032">
            <a:extLst>
              <a:ext uri="{FF2B5EF4-FFF2-40B4-BE49-F238E27FC236}">
                <a16:creationId xmlns:a16="http://schemas.microsoft.com/office/drawing/2014/main" id="{1F054A9A-F76D-4823-94F6-75E3973A03A8}"/>
              </a:ext>
            </a:extLst>
          </p:cNvPr>
          <p:cNvGrpSpPr/>
          <p:nvPr/>
        </p:nvGrpSpPr>
        <p:grpSpPr>
          <a:xfrm>
            <a:off x="8375650" y="617538"/>
            <a:ext cx="3175000" cy="5622925"/>
            <a:chOff x="8375650" y="617538"/>
            <a:chExt cx="3175000" cy="5622925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60B48E3A-142F-4A91-8477-E09A4EDAD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463" y="974726"/>
              <a:ext cx="854075" cy="492125"/>
            </a:xfrm>
            <a:custGeom>
              <a:avLst/>
              <a:gdLst>
                <a:gd name="T0" fmla="*/ 119 w 133"/>
                <a:gd name="T1" fmla="*/ 0 h 77"/>
                <a:gd name="T2" fmla="*/ 132 w 133"/>
                <a:gd name="T3" fmla="*/ 45 h 77"/>
                <a:gd name="T4" fmla="*/ 133 w 133"/>
                <a:gd name="T5" fmla="*/ 51 h 77"/>
                <a:gd name="T6" fmla="*/ 121 w 133"/>
                <a:gd name="T7" fmla="*/ 64 h 77"/>
                <a:gd name="T8" fmla="*/ 102 w 133"/>
                <a:gd name="T9" fmla="*/ 61 h 77"/>
                <a:gd name="T10" fmla="*/ 87 w 133"/>
                <a:gd name="T11" fmla="*/ 72 h 77"/>
                <a:gd name="T12" fmla="*/ 0 w 133"/>
                <a:gd name="T13" fmla="*/ 61 h 77"/>
                <a:gd name="T14" fmla="*/ 28 w 133"/>
                <a:gd name="T15" fmla="*/ 8 h 77"/>
                <a:gd name="T16" fmla="*/ 96 w 133"/>
                <a:gd name="T17" fmla="*/ 11 h 77"/>
                <a:gd name="T18" fmla="*/ 108 w 133"/>
                <a:gd name="T19" fmla="*/ 10 h 77"/>
                <a:gd name="T20" fmla="*/ 116 w 133"/>
                <a:gd name="T21" fmla="*/ 1 h 77"/>
                <a:gd name="T22" fmla="*/ 119 w 133"/>
                <a:gd name="T23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3" h="77">
                  <a:moveTo>
                    <a:pt x="119" y="0"/>
                  </a:moveTo>
                  <a:cubicBezTo>
                    <a:pt x="123" y="15"/>
                    <a:pt x="128" y="30"/>
                    <a:pt x="132" y="45"/>
                  </a:cubicBezTo>
                  <a:cubicBezTo>
                    <a:pt x="133" y="47"/>
                    <a:pt x="133" y="49"/>
                    <a:pt x="133" y="51"/>
                  </a:cubicBezTo>
                  <a:cubicBezTo>
                    <a:pt x="133" y="57"/>
                    <a:pt x="127" y="62"/>
                    <a:pt x="121" y="64"/>
                  </a:cubicBezTo>
                  <a:cubicBezTo>
                    <a:pt x="115" y="65"/>
                    <a:pt x="109" y="63"/>
                    <a:pt x="102" y="61"/>
                  </a:cubicBezTo>
                  <a:cubicBezTo>
                    <a:pt x="101" y="68"/>
                    <a:pt x="93" y="71"/>
                    <a:pt x="87" y="72"/>
                  </a:cubicBezTo>
                  <a:cubicBezTo>
                    <a:pt x="58" y="77"/>
                    <a:pt x="27" y="73"/>
                    <a:pt x="0" y="61"/>
                  </a:cubicBezTo>
                  <a:cubicBezTo>
                    <a:pt x="12" y="45"/>
                    <a:pt x="21" y="27"/>
                    <a:pt x="28" y="8"/>
                  </a:cubicBezTo>
                  <a:cubicBezTo>
                    <a:pt x="51" y="9"/>
                    <a:pt x="74" y="10"/>
                    <a:pt x="96" y="11"/>
                  </a:cubicBezTo>
                  <a:cubicBezTo>
                    <a:pt x="100" y="11"/>
                    <a:pt x="104" y="11"/>
                    <a:pt x="108" y="10"/>
                  </a:cubicBezTo>
                  <a:cubicBezTo>
                    <a:pt x="112" y="8"/>
                    <a:pt x="115" y="5"/>
                    <a:pt x="116" y="1"/>
                  </a:cubicBezTo>
                  <a:cubicBezTo>
                    <a:pt x="119" y="0"/>
                    <a:pt x="119" y="0"/>
                    <a:pt x="119" y="0"/>
                  </a:cubicBezTo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B53609FF-1ED7-41E0-B709-2C1DDBD01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3625" y="1952626"/>
              <a:ext cx="557213" cy="466725"/>
            </a:xfrm>
            <a:custGeom>
              <a:avLst/>
              <a:gdLst>
                <a:gd name="T0" fmla="*/ 87 w 87"/>
                <a:gd name="T1" fmla="*/ 44 h 73"/>
                <a:gd name="T2" fmla="*/ 81 w 87"/>
                <a:gd name="T3" fmla="*/ 36 h 73"/>
                <a:gd name="T4" fmla="*/ 69 w 87"/>
                <a:gd name="T5" fmla="*/ 23 h 73"/>
                <a:gd name="T6" fmla="*/ 65 w 87"/>
                <a:gd name="T7" fmla="*/ 16 h 73"/>
                <a:gd name="T8" fmla="*/ 63 w 87"/>
                <a:gd name="T9" fmla="*/ 5 h 73"/>
                <a:gd name="T10" fmla="*/ 57 w 87"/>
                <a:gd name="T11" fmla="*/ 3 h 73"/>
                <a:gd name="T12" fmla="*/ 59 w 87"/>
                <a:gd name="T13" fmla="*/ 24 h 73"/>
                <a:gd name="T14" fmla="*/ 43 w 87"/>
                <a:gd name="T15" fmla="*/ 23 h 73"/>
                <a:gd name="T16" fmla="*/ 18 w 87"/>
                <a:gd name="T17" fmla="*/ 14 h 73"/>
                <a:gd name="T18" fmla="*/ 22 w 87"/>
                <a:gd name="T19" fmla="*/ 22 h 73"/>
                <a:gd name="T20" fmla="*/ 41 w 87"/>
                <a:gd name="T21" fmla="*/ 36 h 73"/>
                <a:gd name="T22" fmla="*/ 12 w 87"/>
                <a:gd name="T23" fmla="*/ 24 h 73"/>
                <a:gd name="T24" fmla="*/ 5 w 87"/>
                <a:gd name="T25" fmla="*/ 24 h 73"/>
                <a:gd name="T26" fmla="*/ 35 w 87"/>
                <a:gd name="T27" fmla="*/ 43 h 73"/>
                <a:gd name="T28" fmla="*/ 33 w 87"/>
                <a:gd name="T29" fmla="*/ 46 h 73"/>
                <a:gd name="T30" fmla="*/ 2 w 87"/>
                <a:gd name="T31" fmla="*/ 37 h 73"/>
                <a:gd name="T32" fmla="*/ 31 w 87"/>
                <a:gd name="T33" fmla="*/ 54 h 73"/>
                <a:gd name="T34" fmla="*/ 21 w 87"/>
                <a:gd name="T35" fmla="*/ 53 h 73"/>
                <a:gd name="T36" fmla="*/ 8 w 87"/>
                <a:gd name="T37" fmla="*/ 51 h 73"/>
                <a:gd name="T38" fmla="*/ 21 w 87"/>
                <a:gd name="T39" fmla="*/ 60 h 73"/>
                <a:gd name="T40" fmla="*/ 80 w 87"/>
                <a:gd name="T41" fmla="*/ 73 h 73"/>
                <a:gd name="T42" fmla="*/ 87 w 87"/>
                <a:gd name="T43" fmla="*/ 43 h 73"/>
                <a:gd name="T44" fmla="*/ 87 w 87"/>
                <a:gd name="T45" fmla="*/ 4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" h="73">
                  <a:moveTo>
                    <a:pt x="87" y="44"/>
                  </a:moveTo>
                  <a:cubicBezTo>
                    <a:pt x="81" y="36"/>
                    <a:pt x="81" y="36"/>
                    <a:pt x="81" y="36"/>
                  </a:cubicBezTo>
                  <a:cubicBezTo>
                    <a:pt x="81" y="36"/>
                    <a:pt x="76" y="32"/>
                    <a:pt x="69" y="23"/>
                  </a:cubicBezTo>
                  <a:cubicBezTo>
                    <a:pt x="67" y="21"/>
                    <a:pt x="66" y="19"/>
                    <a:pt x="65" y="16"/>
                  </a:cubicBezTo>
                  <a:cubicBezTo>
                    <a:pt x="64" y="12"/>
                    <a:pt x="63" y="8"/>
                    <a:pt x="63" y="5"/>
                  </a:cubicBezTo>
                  <a:cubicBezTo>
                    <a:pt x="63" y="2"/>
                    <a:pt x="59" y="0"/>
                    <a:pt x="57" y="3"/>
                  </a:cubicBezTo>
                  <a:cubicBezTo>
                    <a:pt x="55" y="5"/>
                    <a:pt x="55" y="14"/>
                    <a:pt x="59" y="24"/>
                  </a:cubicBezTo>
                  <a:cubicBezTo>
                    <a:pt x="63" y="34"/>
                    <a:pt x="48" y="26"/>
                    <a:pt x="43" y="23"/>
                  </a:cubicBezTo>
                  <a:cubicBezTo>
                    <a:pt x="38" y="20"/>
                    <a:pt x="20" y="13"/>
                    <a:pt x="18" y="14"/>
                  </a:cubicBezTo>
                  <a:cubicBezTo>
                    <a:pt x="15" y="15"/>
                    <a:pt x="16" y="19"/>
                    <a:pt x="22" y="22"/>
                  </a:cubicBezTo>
                  <a:cubicBezTo>
                    <a:pt x="27" y="24"/>
                    <a:pt x="43" y="33"/>
                    <a:pt x="41" y="36"/>
                  </a:cubicBezTo>
                  <a:cubicBezTo>
                    <a:pt x="40" y="39"/>
                    <a:pt x="12" y="24"/>
                    <a:pt x="12" y="24"/>
                  </a:cubicBezTo>
                  <a:cubicBezTo>
                    <a:pt x="12" y="24"/>
                    <a:pt x="7" y="20"/>
                    <a:pt x="5" y="24"/>
                  </a:cubicBezTo>
                  <a:cubicBezTo>
                    <a:pt x="2" y="29"/>
                    <a:pt x="32" y="42"/>
                    <a:pt x="35" y="43"/>
                  </a:cubicBezTo>
                  <a:cubicBezTo>
                    <a:pt x="37" y="44"/>
                    <a:pt x="35" y="47"/>
                    <a:pt x="33" y="46"/>
                  </a:cubicBezTo>
                  <a:cubicBezTo>
                    <a:pt x="31" y="45"/>
                    <a:pt x="6" y="32"/>
                    <a:pt x="2" y="37"/>
                  </a:cubicBezTo>
                  <a:cubicBezTo>
                    <a:pt x="0" y="42"/>
                    <a:pt x="27" y="48"/>
                    <a:pt x="31" y="54"/>
                  </a:cubicBezTo>
                  <a:cubicBezTo>
                    <a:pt x="33" y="57"/>
                    <a:pt x="27" y="55"/>
                    <a:pt x="21" y="53"/>
                  </a:cubicBezTo>
                  <a:cubicBezTo>
                    <a:pt x="15" y="51"/>
                    <a:pt x="9" y="49"/>
                    <a:pt x="8" y="51"/>
                  </a:cubicBezTo>
                  <a:cubicBezTo>
                    <a:pt x="7" y="53"/>
                    <a:pt x="6" y="54"/>
                    <a:pt x="21" y="60"/>
                  </a:cubicBezTo>
                  <a:cubicBezTo>
                    <a:pt x="37" y="65"/>
                    <a:pt x="80" y="73"/>
                    <a:pt x="80" y="73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7" y="44"/>
                    <a:pt x="87" y="44"/>
                    <a:pt x="87" y="44"/>
                  </a:cubicBezTo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4228F784-5520-4968-9090-573718456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9700" y="1779588"/>
              <a:ext cx="1379538" cy="1036638"/>
            </a:xfrm>
            <a:custGeom>
              <a:avLst/>
              <a:gdLst>
                <a:gd name="T0" fmla="*/ 157 w 215"/>
                <a:gd name="T1" fmla="*/ 0 h 162"/>
                <a:gd name="T2" fmla="*/ 124 w 215"/>
                <a:gd name="T3" fmla="*/ 73 h 162"/>
                <a:gd name="T4" fmla="*/ 15 w 215"/>
                <a:gd name="T5" fmla="*/ 55 h 162"/>
                <a:gd name="T6" fmla="*/ 0 w 215"/>
                <a:gd name="T7" fmla="*/ 95 h 162"/>
                <a:gd name="T8" fmla="*/ 181 w 215"/>
                <a:gd name="T9" fmla="*/ 98 h 162"/>
                <a:gd name="T10" fmla="*/ 213 w 215"/>
                <a:gd name="T11" fmla="*/ 19 h 162"/>
                <a:gd name="T12" fmla="*/ 157 w 215"/>
                <a:gd name="T13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5" h="162">
                  <a:moveTo>
                    <a:pt x="157" y="0"/>
                  </a:moveTo>
                  <a:cubicBezTo>
                    <a:pt x="157" y="0"/>
                    <a:pt x="132" y="72"/>
                    <a:pt x="124" y="73"/>
                  </a:cubicBezTo>
                  <a:cubicBezTo>
                    <a:pt x="72" y="77"/>
                    <a:pt x="15" y="55"/>
                    <a:pt x="15" y="5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149" y="162"/>
                    <a:pt x="181" y="98"/>
                  </a:cubicBezTo>
                  <a:cubicBezTo>
                    <a:pt x="215" y="30"/>
                    <a:pt x="213" y="19"/>
                    <a:pt x="213" y="19"/>
                  </a:cubicBezTo>
                  <a:cubicBezTo>
                    <a:pt x="157" y="0"/>
                    <a:pt x="157" y="0"/>
                    <a:pt x="157" y="0"/>
                  </a:cubicBezTo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36D72753-6482-4774-85D1-4EDB9463AE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5225" y="3448051"/>
              <a:ext cx="1482725" cy="2435225"/>
            </a:xfrm>
            <a:custGeom>
              <a:avLst/>
              <a:gdLst>
                <a:gd name="T0" fmla="*/ 0 w 231"/>
                <a:gd name="T1" fmla="*/ 145 h 381"/>
                <a:gd name="T2" fmla="*/ 201 w 231"/>
                <a:gd name="T3" fmla="*/ 381 h 381"/>
                <a:gd name="T4" fmla="*/ 231 w 231"/>
                <a:gd name="T5" fmla="*/ 344 h 381"/>
                <a:gd name="T6" fmla="*/ 85 w 231"/>
                <a:gd name="T7" fmla="*/ 163 h 381"/>
                <a:gd name="T8" fmla="*/ 125 w 231"/>
                <a:gd name="T9" fmla="*/ 20 h 381"/>
                <a:gd name="T10" fmla="*/ 77 w 231"/>
                <a:gd name="T11" fmla="*/ 0 h 381"/>
                <a:gd name="T12" fmla="*/ 0 w 231"/>
                <a:gd name="T13" fmla="*/ 145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1" h="381">
                  <a:moveTo>
                    <a:pt x="0" y="145"/>
                  </a:moveTo>
                  <a:cubicBezTo>
                    <a:pt x="26" y="267"/>
                    <a:pt x="201" y="381"/>
                    <a:pt x="201" y="381"/>
                  </a:cubicBezTo>
                  <a:cubicBezTo>
                    <a:pt x="231" y="344"/>
                    <a:pt x="231" y="344"/>
                    <a:pt x="231" y="344"/>
                  </a:cubicBezTo>
                  <a:cubicBezTo>
                    <a:pt x="231" y="344"/>
                    <a:pt x="91" y="219"/>
                    <a:pt x="85" y="163"/>
                  </a:cubicBezTo>
                  <a:cubicBezTo>
                    <a:pt x="79" y="108"/>
                    <a:pt x="125" y="20"/>
                    <a:pt x="125" y="20"/>
                  </a:cubicBezTo>
                  <a:cubicBezTo>
                    <a:pt x="77" y="0"/>
                    <a:pt x="77" y="0"/>
                    <a:pt x="77" y="0"/>
                  </a:cubicBezTo>
                  <a:lnTo>
                    <a:pt x="0" y="145"/>
                  </a:lnTo>
                  <a:close/>
                </a:path>
              </a:pathLst>
            </a:custGeom>
            <a:solidFill>
              <a:srgbClr val="1F36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30637A9D-2398-48C1-B65E-D4BEC60D3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7000" y="719138"/>
              <a:ext cx="481013" cy="819150"/>
            </a:xfrm>
            <a:custGeom>
              <a:avLst/>
              <a:gdLst>
                <a:gd name="T0" fmla="*/ 23 w 75"/>
                <a:gd name="T1" fmla="*/ 128 h 128"/>
                <a:gd name="T2" fmla="*/ 22 w 75"/>
                <a:gd name="T3" fmla="*/ 102 h 128"/>
                <a:gd name="T4" fmla="*/ 1 w 75"/>
                <a:gd name="T5" fmla="*/ 80 h 128"/>
                <a:gd name="T6" fmla="*/ 1 w 75"/>
                <a:gd name="T7" fmla="*/ 17 h 128"/>
                <a:gd name="T8" fmla="*/ 36 w 75"/>
                <a:gd name="T9" fmla="*/ 0 h 128"/>
                <a:gd name="T10" fmla="*/ 75 w 75"/>
                <a:gd name="T11" fmla="*/ 29 h 128"/>
                <a:gd name="T12" fmla="*/ 69 w 75"/>
                <a:gd name="T13" fmla="*/ 125 h 128"/>
                <a:gd name="T14" fmla="*/ 23 w 75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128">
                  <a:moveTo>
                    <a:pt x="23" y="128"/>
                  </a:moveTo>
                  <a:cubicBezTo>
                    <a:pt x="24" y="123"/>
                    <a:pt x="22" y="102"/>
                    <a:pt x="22" y="102"/>
                  </a:cubicBezTo>
                  <a:cubicBezTo>
                    <a:pt x="22" y="102"/>
                    <a:pt x="3" y="100"/>
                    <a:pt x="1" y="80"/>
                  </a:cubicBezTo>
                  <a:cubicBezTo>
                    <a:pt x="0" y="61"/>
                    <a:pt x="1" y="17"/>
                    <a:pt x="1" y="17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23" y="128"/>
                    <a:pt x="23" y="128"/>
                    <a:pt x="23" y="128"/>
                  </a:cubicBezTo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310CAF0D-D34C-4425-BB44-2CD2DBCFD1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9850" y="617538"/>
              <a:ext cx="717550" cy="409575"/>
            </a:xfrm>
            <a:custGeom>
              <a:avLst/>
              <a:gdLst>
                <a:gd name="T0" fmla="*/ 81 w 112"/>
                <a:gd name="T1" fmla="*/ 60 h 64"/>
                <a:gd name="T2" fmla="*/ 44 w 112"/>
                <a:gd name="T3" fmla="*/ 29 h 64"/>
                <a:gd name="T4" fmla="*/ 10 w 112"/>
                <a:gd name="T5" fmla="*/ 60 h 64"/>
                <a:gd name="T6" fmla="*/ 19 w 112"/>
                <a:gd name="T7" fmla="*/ 19 h 64"/>
                <a:gd name="T8" fmla="*/ 58 w 112"/>
                <a:gd name="T9" fmla="*/ 4 h 64"/>
                <a:gd name="T10" fmla="*/ 110 w 112"/>
                <a:gd name="T11" fmla="*/ 51 h 64"/>
                <a:gd name="T12" fmla="*/ 112 w 112"/>
                <a:gd name="T13" fmla="*/ 64 h 64"/>
                <a:gd name="T14" fmla="*/ 81 w 112"/>
                <a:gd name="T15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" h="64">
                  <a:moveTo>
                    <a:pt x="81" y="60"/>
                  </a:moveTo>
                  <a:cubicBezTo>
                    <a:pt x="81" y="60"/>
                    <a:pt x="50" y="57"/>
                    <a:pt x="44" y="29"/>
                  </a:cubicBezTo>
                  <a:cubicBezTo>
                    <a:pt x="10" y="60"/>
                    <a:pt x="10" y="60"/>
                    <a:pt x="10" y="60"/>
                  </a:cubicBezTo>
                  <a:cubicBezTo>
                    <a:pt x="10" y="60"/>
                    <a:pt x="0" y="39"/>
                    <a:pt x="19" y="19"/>
                  </a:cubicBezTo>
                  <a:cubicBezTo>
                    <a:pt x="38" y="0"/>
                    <a:pt x="51" y="4"/>
                    <a:pt x="58" y="4"/>
                  </a:cubicBezTo>
                  <a:cubicBezTo>
                    <a:pt x="65" y="4"/>
                    <a:pt x="100" y="11"/>
                    <a:pt x="110" y="51"/>
                  </a:cubicBezTo>
                  <a:cubicBezTo>
                    <a:pt x="111" y="54"/>
                    <a:pt x="112" y="61"/>
                    <a:pt x="112" y="64"/>
                  </a:cubicBezTo>
                  <a:lnTo>
                    <a:pt x="81" y="60"/>
                  </a:ln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7C5BA44F-16C1-4CE8-8FDA-FF890E435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0838" y="1141413"/>
              <a:ext cx="103188" cy="50800"/>
            </a:xfrm>
            <a:custGeom>
              <a:avLst/>
              <a:gdLst>
                <a:gd name="T0" fmla="*/ 8 w 16"/>
                <a:gd name="T1" fmla="*/ 0 h 8"/>
                <a:gd name="T2" fmla="*/ 0 w 16"/>
                <a:gd name="T3" fmla="*/ 4 h 8"/>
                <a:gd name="T4" fmla="*/ 8 w 16"/>
                <a:gd name="T5" fmla="*/ 8 h 8"/>
                <a:gd name="T6" fmla="*/ 8 w 16"/>
                <a:gd name="T7" fmla="*/ 8 h 8"/>
                <a:gd name="T8" fmla="*/ 15 w 16"/>
                <a:gd name="T9" fmla="*/ 5 h 8"/>
                <a:gd name="T10" fmla="*/ 8 w 16"/>
                <a:gd name="T11" fmla="*/ 0 h 8"/>
                <a:gd name="T12" fmla="*/ 8 w 16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8">
                  <a:moveTo>
                    <a:pt x="8" y="0"/>
                  </a:moveTo>
                  <a:cubicBezTo>
                    <a:pt x="4" y="0"/>
                    <a:pt x="0" y="2"/>
                    <a:pt x="0" y="4"/>
                  </a:cubicBezTo>
                  <a:cubicBezTo>
                    <a:pt x="0" y="6"/>
                    <a:pt x="4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2" y="8"/>
                    <a:pt x="15" y="7"/>
                    <a:pt x="15" y="5"/>
                  </a:cubicBezTo>
                  <a:cubicBezTo>
                    <a:pt x="16" y="2"/>
                    <a:pt x="12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solidFill>
              <a:srgbClr val="F5A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3A8FB5C1-F5C3-4052-B152-E23A2DE59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9238" y="1166813"/>
              <a:ext cx="95250" cy="69850"/>
            </a:xfrm>
            <a:custGeom>
              <a:avLst/>
              <a:gdLst>
                <a:gd name="T0" fmla="*/ 12 w 15"/>
                <a:gd name="T1" fmla="*/ 1 h 11"/>
                <a:gd name="T2" fmla="*/ 0 w 15"/>
                <a:gd name="T3" fmla="*/ 6 h 11"/>
                <a:gd name="T4" fmla="*/ 8 w 15"/>
                <a:gd name="T5" fmla="*/ 8 h 11"/>
                <a:gd name="T6" fmla="*/ 12 w 15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1">
                  <a:moveTo>
                    <a:pt x="12" y="1"/>
                  </a:moveTo>
                  <a:cubicBezTo>
                    <a:pt x="15" y="0"/>
                    <a:pt x="5" y="6"/>
                    <a:pt x="0" y="6"/>
                  </a:cubicBezTo>
                  <a:cubicBezTo>
                    <a:pt x="0" y="6"/>
                    <a:pt x="3" y="11"/>
                    <a:pt x="8" y="8"/>
                  </a:cubicBezTo>
                  <a:cubicBezTo>
                    <a:pt x="14" y="6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3F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043D25C3-1656-4C47-AB76-DDC1ABF87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28288" y="1314451"/>
              <a:ext cx="160338" cy="88900"/>
            </a:xfrm>
            <a:custGeom>
              <a:avLst/>
              <a:gdLst>
                <a:gd name="T0" fmla="*/ 0 w 25"/>
                <a:gd name="T1" fmla="*/ 9 h 14"/>
                <a:gd name="T2" fmla="*/ 25 w 25"/>
                <a:gd name="T3" fmla="*/ 0 h 14"/>
                <a:gd name="T4" fmla="*/ 0 w 25"/>
                <a:gd name="T5" fmla="*/ 13 h 14"/>
                <a:gd name="T6" fmla="*/ 0 w 25"/>
                <a:gd name="T7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4">
                  <a:moveTo>
                    <a:pt x="0" y="9"/>
                  </a:moveTo>
                  <a:cubicBezTo>
                    <a:pt x="0" y="9"/>
                    <a:pt x="13" y="9"/>
                    <a:pt x="25" y="0"/>
                  </a:cubicBezTo>
                  <a:cubicBezTo>
                    <a:pt x="25" y="0"/>
                    <a:pt x="20" y="14"/>
                    <a:pt x="0" y="13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5F34EBB7-B55C-4297-9EA9-B7E5CFE3A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8225" y="1498601"/>
              <a:ext cx="1192213" cy="1763713"/>
            </a:xfrm>
            <a:custGeom>
              <a:avLst/>
              <a:gdLst>
                <a:gd name="T0" fmla="*/ 38 w 186"/>
                <a:gd name="T1" fmla="*/ 221 h 276"/>
                <a:gd name="T2" fmla="*/ 41 w 186"/>
                <a:gd name="T3" fmla="*/ 237 h 276"/>
                <a:gd name="T4" fmla="*/ 176 w 186"/>
                <a:gd name="T5" fmla="*/ 276 h 276"/>
                <a:gd name="T6" fmla="*/ 161 w 186"/>
                <a:gd name="T7" fmla="*/ 181 h 276"/>
                <a:gd name="T8" fmla="*/ 157 w 186"/>
                <a:gd name="T9" fmla="*/ 124 h 276"/>
                <a:gd name="T10" fmla="*/ 173 w 186"/>
                <a:gd name="T11" fmla="*/ 60 h 276"/>
                <a:gd name="T12" fmla="*/ 152 w 186"/>
                <a:gd name="T13" fmla="*/ 0 h 276"/>
                <a:gd name="T14" fmla="*/ 66 w 186"/>
                <a:gd name="T15" fmla="*/ 6 h 276"/>
                <a:gd name="T16" fmla="*/ 0 w 186"/>
                <a:gd name="T17" fmla="*/ 66 h 276"/>
                <a:gd name="T18" fmla="*/ 31 w 186"/>
                <a:gd name="T19" fmla="*/ 114 h 276"/>
                <a:gd name="T20" fmla="*/ 32 w 186"/>
                <a:gd name="T21" fmla="*/ 132 h 276"/>
                <a:gd name="T22" fmla="*/ 38 w 186"/>
                <a:gd name="T23" fmla="*/ 221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" h="276">
                  <a:moveTo>
                    <a:pt x="38" y="221"/>
                  </a:moveTo>
                  <a:cubicBezTo>
                    <a:pt x="38" y="228"/>
                    <a:pt x="41" y="237"/>
                    <a:pt x="41" y="237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76" y="276"/>
                    <a:pt x="186" y="215"/>
                    <a:pt x="161" y="181"/>
                  </a:cubicBezTo>
                  <a:cubicBezTo>
                    <a:pt x="150" y="165"/>
                    <a:pt x="152" y="143"/>
                    <a:pt x="157" y="124"/>
                  </a:cubicBezTo>
                  <a:cubicBezTo>
                    <a:pt x="173" y="60"/>
                    <a:pt x="173" y="60"/>
                    <a:pt x="173" y="6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6"/>
                    <a:pt x="17" y="1"/>
                    <a:pt x="0" y="66"/>
                  </a:cubicBezTo>
                  <a:cubicBezTo>
                    <a:pt x="31" y="114"/>
                    <a:pt x="31" y="114"/>
                    <a:pt x="31" y="114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8" y="221"/>
                    <a:pt x="38" y="221"/>
                    <a:pt x="38" y="221"/>
                  </a:cubicBezTo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5">
              <a:extLst>
                <a:ext uri="{FF2B5EF4-FFF2-40B4-BE49-F238E27FC236}">
                  <a16:creationId xmlns:a16="http://schemas.microsoft.com/office/drawing/2014/main" id="{93265ADD-AF75-4841-AD2E-81074022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8813" y="2757488"/>
              <a:ext cx="1636713" cy="3425825"/>
            </a:xfrm>
            <a:custGeom>
              <a:avLst/>
              <a:gdLst>
                <a:gd name="T0" fmla="*/ 229 w 255"/>
                <a:gd name="T1" fmla="*/ 0 h 536"/>
                <a:gd name="T2" fmla="*/ 233 w 255"/>
                <a:gd name="T3" fmla="*/ 87 h 536"/>
                <a:gd name="T4" fmla="*/ 219 w 255"/>
                <a:gd name="T5" fmla="*/ 109 h 536"/>
                <a:gd name="T6" fmla="*/ 109 w 255"/>
                <a:gd name="T7" fmla="*/ 294 h 536"/>
                <a:gd name="T8" fmla="*/ 46 w 255"/>
                <a:gd name="T9" fmla="*/ 536 h 536"/>
                <a:gd name="T10" fmla="*/ 0 w 255"/>
                <a:gd name="T11" fmla="*/ 529 h 536"/>
                <a:gd name="T12" fmla="*/ 37 w 255"/>
                <a:gd name="T13" fmla="*/ 279 h 536"/>
                <a:gd name="T14" fmla="*/ 97 w 255"/>
                <a:gd name="T15" fmla="*/ 24 h 536"/>
                <a:gd name="T16" fmla="*/ 229 w 255"/>
                <a:gd name="T17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536">
                  <a:moveTo>
                    <a:pt x="229" y="0"/>
                  </a:moveTo>
                  <a:cubicBezTo>
                    <a:pt x="231" y="0"/>
                    <a:pt x="255" y="55"/>
                    <a:pt x="233" y="87"/>
                  </a:cubicBezTo>
                  <a:cubicBezTo>
                    <a:pt x="231" y="90"/>
                    <a:pt x="226" y="98"/>
                    <a:pt x="219" y="109"/>
                  </a:cubicBezTo>
                  <a:cubicBezTo>
                    <a:pt x="186" y="159"/>
                    <a:pt x="111" y="277"/>
                    <a:pt x="109" y="294"/>
                  </a:cubicBezTo>
                  <a:cubicBezTo>
                    <a:pt x="106" y="315"/>
                    <a:pt x="46" y="536"/>
                    <a:pt x="46" y="536"/>
                  </a:cubicBezTo>
                  <a:cubicBezTo>
                    <a:pt x="0" y="529"/>
                    <a:pt x="0" y="529"/>
                    <a:pt x="0" y="529"/>
                  </a:cubicBezTo>
                  <a:cubicBezTo>
                    <a:pt x="37" y="279"/>
                    <a:pt x="37" y="279"/>
                    <a:pt x="37" y="279"/>
                  </a:cubicBezTo>
                  <a:cubicBezTo>
                    <a:pt x="97" y="24"/>
                    <a:pt x="97" y="24"/>
                    <a:pt x="97" y="24"/>
                  </a:cubicBezTo>
                  <a:lnTo>
                    <a:pt x="229" y="0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6">
              <a:extLst>
                <a:ext uri="{FF2B5EF4-FFF2-40B4-BE49-F238E27FC236}">
                  <a16:creationId xmlns:a16="http://schemas.microsoft.com/office/drawing/2014/main" id="{5AFFCE00-7CC7-4837-AC35-BEA614386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5250" y="738188"/>
              <a:ext cx="261938" cy="249238"/>
            </a:xfrm>
            <a:custGeom>
              <a:avLst/>
              <a:gdLst>
                <a:gd name="T0" fmla="*/ 41 w 41"/>
                <a:gd name="T1" fmla="*/ 7 h 39"/>
                <a:gd name="T2" fmla="*/ 37 w 41"/>
                <a:gd name="T3" fmla="*/ 31 h 39"/>
                <a:gd name="T4" fmla="*/ 7 w 41"/>
                <a:gd name="T5" fmla="*/ 39 h 39"/>
                <a:gd name="T6" fmla="*/ 41 w 41"/>
                <a:gd name="T7" fmla="*/ 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39">
                  <a:moveTo>
                    <a:pt x="41" y="7"/>
                  </a:moveTo>
                  <a:cubicBezTo>
                    <a:pt x="41" y="7"/>
                    <a:pt x="34" y="21"/>
                    <a:pt x="37" y="31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0" y="0"/>
                    <a:pt x="41" y="7"/>
                  </a:cubicBez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7">
              <a:extLst>
                <a:ext uri="{FF2B5EF4-FFF2-40B4-BE49-F238E27FC236}">
                  <a16:creationId xmlns:a16="http://schemas.microsoft.com/office/drawing/2014/main" id="{BFDB55CD-8D49-4F2C-B02B-CA6412D63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36263" y="1000126"/>
              <a:ext cx="236538" cy="339725"/>
            </a:xfrm>
            <a:custGeom>
              <a:avLst/>
              <a:gdLst>
                <a:gd name="T0" fmla="*/ 33 w 37"/>
                <a:gd name="T1" fmla="*/ 1 h 53"/>
                <a:gd name="T2" fmla="*/ 0 w 37"/>
                <a:gd name="T3" fmla="*/ 53 h 53"/>
                <a:gd name="T4" fmla="*/ 2 w 37"/>
                <a:gd name="T5" fmla="*/ 0 h 53"/>
                <a:gd name="T6" fmla="*/ 33 w 37"/>
                <a:gd name="T7" fmla="*/ 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53">
                  <a:moveTo>
                    <a:pt x="33" y="1"/>
                  </a:moveTo>
                  <a:cubicBezTo>
                    <a:pt x="33" y="1"/>
                    <a:pt x="37" y="45"/>
                    <a:pt x="0" y="53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33" y="1"/>
                  </a:ln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1043" name="Picture 19">
              <a:extLst>
                <a:ext uri="{FF2B5EF4-FFF2-40B4-BE49-F238E27FC236}">
                  <a16:creationId xmlns:a16="http://schemas.microsoft.com/office/drawing/2014/main" id="{2B27F6C3-E051-4DC6-A739-E33BF553A2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70925" y="1946276"/>
              <a:ext cx="500063" cy="454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" name="Freeform 22">
              <a:extLst>
                <a:ext uri="{FF2B5EF4-FFF2-40B4-BE49-F238E27FC236}">
                  <a16:creationId xmlns:a16="http://schemas.microsoft.com/office/drawing/2014/main" id="{F5536D6A-EB73-4607-8E8C-15C40FDC4B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5650" y="1825626"/>
              <a:ext cx="1673225" cy="714375"/>
            </a:xfrm>
            <a:custGeom>
              <a:avLst/>
              <a:gdLst>
                <a:gd name="T0" fmla="*/ 1054 w 1054"/>
                <a:gd name="T1" fmla="*/ 310 h 450"/>
                <a:gd name="T2" fmla="*/ 747 w 1054"/>
                <a:gd name="T3" fmla="*/ 438 h 450"/>
                <a:gd name="T4" fmla="*/ 246 w 1054"/>
                <a:gd name="T5" fmla="*/ 450 h 450"/>
                <a:gd name="T6" fmla="*/ 0 w 1054"/>
                <a:gd name="T7" fmla="*/ 36 h 450"/>
                <a:gd name="T8" fmla="*/ 517 w 1054"/>
                <a:gd name="T9" fmla="*/ 0 h 450"/>
                <a:gd name="T10" fmla="*/ 739 w 1054"/>
                <a:gd name="T11" fmla="*/ 402 h 450"/>
                <a:gd name="T12" fmla="*/ 1050 w 1054"/>
                <a:gd name="T13" fmla="*/ 281 h 450"/>
                <a:gd name="T14" fmla="*/ 1054 w 1054"/>
                <a:gd name="T15" fmla="*/ 31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4" h="450">
                  <a:moveTo>
                    <a:pt x="1054" y="310"/>
                  </a:moveTo>
                  <a:lnTo>
                    <a:pt x="747" y="438"/>
                  </a:lnTo>
                  <a:lnTo>
                    <a:pt x="246" y="450"/>
                  </a:lnTo>
                  <a:lnTo>
                    <a:pt x="0" y="36"/>
                  </a:lnTo>
                  <a:lnTo>
                    <a:pt x="517" y="0"/>
                  </a:lnTo>
                  <a:lnTo>
                    <a:pt x="739" y="402"/>
                  </a:lnTo>
                  <a:lnTo>
                    <a:pt x="1050" y="281"/>
                  </a:lnTo>
                  <a:lnTo>
                    <a:pt x="1054" y="310"/>
                  </a:lnTo>
                  <a:close/>
                </a:path>
              </a:pathLst>
            </a:custGeom>
            <a:solidFill>
              <a:srgbClr val="AFAF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3">
              <a:extLst>
                <a:ext uri="{FF2B5EF4-FFF2-40B4-BE49-F238E27FC236}">
                  <a16:creationId xmlns:a16="http://schemas.microsoft.com/office/drawing/2014/main" id="{9E484EFE-162C-457E-9996-A3D8A0D18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5038" y="1838326"/>
              <a:ext cx="333375" cy="479425"/>
            </a:xfrm>
            <a:custGeom>
              <a:avLst/>
              <a:gdLst>
                <a:gd name="T0" fmla="*/ 85 w 210"/>
                <a:gd name="T1" fmla="*/ 0 h 302"/>
                <a:gd name="T2" fmla="*/ 0 w 210"/>
                <a:gd name="T3" fmla="*/ 209 h 302"/>
                <a:gd name="T4" fmla="*/ 194 w 210"/>
                <a:gd name="T5" fmla="*/ 302 h 302"/>
                <a:gd name="T6" fmla="*/ 210 w 210"/>
                <a:gd name="T7" fmla="*/ 120 h 302"/>
                <a:gd name="T8" fmla="*/ 85 w 210"/>
                <a:gd name="T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302">
                  <a:moveTo>
                    <a:pt x="85" y="0"/>
                  </a:moveTo>
                  <a:lnTo>
                    <a:pt x="0" y="209"/>
                  </a:lnTo>
                  <a:lnTo>
                    <a:pt x="194" y="302"/>
                  </a:lnTo>
                  <a:lnTo>
                    <a:pt x="210" y="120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4">
              <a:extLst>
                <a:ext uri="{FF2B5EF4-FFF2-40B4-BE49-F238E27FC236}">
                  <a16:creationId xmlns:a16="http://schemas.microsoft.com/office/drawing/2014/main" id="{FEFE037D-05ED-4BFC-9A5F-17AE3FD640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7825" y="1441451"/>
              <a:ext cx="268288" cy="122238"/>
            </a:xfrm>
            <a:custGeom>
              <a:avLst/>
              <a:gdLst>
                <a:gd name="T0" fmla="*/ 169 w 169"/>
                <a:gd name="T1" fmla="*/ 40 h 77"/>
                <a:gd name="T2" fmla="*/ 137 w 169"/>
                <a:gd name="T3" fmla="*/ 0 h 77"/>
                <a:gd name="T4" fmla="*/ 0 w 169"/>
                <a:gd name="T5" fmla="*/ 36 h 77"/>
                <a:gd name="T6" fmla="*/ 16 w 169"/>
                <a:gd name="T7" fmla="*/ 77 h 77"/>
                <a:gd name="T8" fmla="*/ 169 w 169"/>
                <a:gd name="T9" fmla="*/ 4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77">
                  <a:moveTo>
                    <a:pt x="169" y="40"/>
                  </a:moveTo>
                  <a:lnTo>
                    <a:pt x="137" y="0"/>
                  </a:lnTo>
                  <a:lnTo>
                    <a:pt x="0" y="36"/>
                  </a:lnTo>
                  <a:lnTo>
                    <a:pt x="16" y="77"/>
                  </a:lnTo>
                  <a:lnTo>
                    <a:pt x="169" y="40"/>
                  </a:ln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5">
              <a:extLst>
                <a:ext uri="{FF2B5EF4-FFF2-40B4-BE49-F238E27FC236}">
                  <a16:creationId xmlns:a16="http://schemas.microsoft.com/office/drawing/2014/main" id="{CE6993E8-DD07-48DF-8598-1671DE0C3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2738" y="1511301"/>
              <a:ext cx="90488" cy="223838"/>
            </a:xfrm>
            <a:custGeom>
              <a:avLst/>
              <a:gdLst>
                <a:gd name="T0" fmla="*/ 57 w 57"/>
                <a:gd name="T1" fmla="*/ 33 h 141"/>
                <a:gd name="T2" fmla="*/ 0 w 57"/>
                <a:gd name="T3" fmla="*/ 141 h 141"/>
                <a:gd name="T4" fmla="*/ 0 w 57"/>
                <a:gd name="T5" fmla="*/ 33 h 141"/>
                <a:gd name="T6" fmla="*/ 4 w 57"/>
                <a:gd name="T7" fmla="*/ 0 h 141"/>
                <a:gd name="T8" fmla="*/ 41 w 57"/>
                <a:gd name="T9" fmla="*/ 0 h 141"/>
                <a:gd name="T10" fmla="*/ 57 w 57"/>
                <a:gd name="T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141">
                  <a:moveTo>
                    <a:pt x="57" y="33"/>
                  </a:moveTo>
                  <a:lnTo>
                    <a:pt x="0" y="141"/>
                  </a:lnTo>
                  <a:lnTo>
                    <a:pt x="0" y="33"/>
                  </a:lnTo>
                  <a:lnTo>
                    <a:pt x="4" y="0"/>
                  </a:lnTo>
                  <a:lnTo>
                    <a:pt x="41" y="0"/>
                  </a:lnTo>
                  <a:lnTo>
                    <a:pt x="57" y="33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6">
              <a:extLst>
                <a:ext uri="{FF2B5EF4-FFF2-40B4-BE49-F238E27FC236}">
                  <a16:creationId xmlns:a16="http://schemas.microsoft.com/office/drawing/2014/main" id="{162AFDD8-D0B1-47C8-BB69-9CF96F1F5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2738" y="1511301"/>
              <a:ext cx="90488" cy="223838"/>
            </a:xfrm>
            <a:custGeom>
              <a:avLst/>
              <a:gdLst>
                <a:gd name="T0" fmla="*/ 57 w 57"/>
                <a:gd name="T1" fmla="*/ 33 h 141"/>
                <a:gd name="T2" fmla="*/ 0 w 57"/>
                <a:gd name="T3" fmla="*/ 141 h 141"/>
                <a:gd name="T4" fmla="*/ 0 w 57"/>
                <a:gd name="T5" fmla="*/ 33 h 141"/>
                <a:gd name="T6" fmla="*/ 4 w 57"/>
                <a:gd name="T7" fmla="*/ 0 h 141"/>
                <a:gd name="T8" fmla="*/ 41 w 57"/>
                <a:gd name="T9" fmla="*/ 0 h 141"/>
                <a:gd name="T10" fmla="*/ 57 w 57"/>
                <a:gd name="T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141">
                  <a:moveTo>
                    <a:pt x="57" y="33"/>
                  </a:moveTo>
                  <a:lnTo>
                    <a:pt x="0" y="141"/>
                  </a:lnTo>
                  <a:lnTo>
                    <a:pt x="0" y="33"/>
                  </a:lnTo>
                  <a:lnTo>
                    <a:pt x="4" y="0"/>
                  </a:lnTo>
                  <a:lnTo>
                    <a:pt x="41" y="0"/>
                  </a:lnTo>
                  <a:lnTo>
                    <a:pt x="57" y="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7">
              <a:extLst>
                <a:ext uri="{FF2B5EF4-FFF2-40B4-BE49-F238E27FC236}">
                  <a16:creationId xmlns:a16="http://schemas.microsoft.com/office/drawing/2014/main" id="{95068294-3B71-4D76-B45B-2AC865811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3200" y="1473201"/>
              <a:ext cx="122238" cy="90488"/>
            </a:xfrm>
            <a:custGeom>
              <a:avLst/>
              <a:gdLst>
                <a:gd name="T0" fmla="*/ 69 w 77"/>
                <a:gd name="T1" fmla="*/ 57 h 57"/>
                <a:gd name="T2" fmla="*/ 77 w 77"/>
                <a:gd name="T3" fmla="*/ 16 h 57"/>
                <a:gd name="T4" fmla="*/ 41 w 77"/>
                <a:gd name="T5" fmla="*/ 0 h 57"/>
                <a:gd name="T6" fmla="*/ 0 w 77"/>
                <a:gd name="T7" fmla="*/ 41 h 57"/>
                <a:gd name="T8" fmla="*/ 69 w 77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57">
                  <a:moveTo>
                    <a:pt x="69" y="57"/>
                  </a:moveTo>
                  <a:lnTo>
                    <a:pt x="77" y="16"/>
                  </a:lnTo>
                  <a:lnTo>
                    <a:pt x="41" y="0"/>
                  </a:lnTo>
                  <a:lnTo>
                    <a:pt x="0" y="41"/>
                  </a:lnTo>
                  <a:lnTo>
                    <a:pt x="69" y="57"/>
                  </a:ln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8">
              <a:extLst>
                <a:ext uri="{FF2B5EF4-FFF2-40B4-BE49-F238E27FC236}">
                  <a16:creationId xmlns:a16="http://schemas.microsoft.com/office/drawing/2014/main" id="{A8EB044D-A157-4A25-B98D-3B4138A218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2525" y="1838326"/>
              <a:ext cx="134938" cy="485775"/>
            </a:xfrm>
            <a:custGeom>
              <a:avLst/>
              <a:gdLst>
                <a:gd name="T0" fmla="*/ 14 w 21"/>
                <a:gd name="T1" fmla="*/ 76 h 76"/>
                <a:gd name="T2" fmla="*/ 14 w 21"/>
                <a:gd name="T3" fmla="*/ 73 h 76"/>
                <a:gd name="T4" fmla="*/ 10 w 21"/>
                <a:gd name="T5" fmla="*/ 64 h 76"/>
                <a:gd name="T6" fmla="*/ 3 w 21"/>
                <a:gd name="T7" fmla="*/ 53 h 76"/>
                <a:gd name="T8" fmla="*/ 3 w 21"/>
                <a:gd name="T9" fmla="*/ 45 h 76"/>
                <a:gd name="T10" fmla="*/ 8 w 21"/>
                <a:gd name="T11" fmla="*/ 39 h 76"/>
                <a:gd name="T12" fmla="*/ 15 w 21"/>
                <a:gd name="T13" fmla="*/ 36 h 76"/>
                <a:gd name="T14" fmla="*/ 16 w 21"/>
                <a:gd name="T15" fmla="*/ 36 h 76"/>
                <a:gd name="T16" fmla="*/ 16 w 21"/>
                <a:gd name="T17" fmla="*/ 35 h 76"/>
                <a:gd name="T18" fmla="*/ 20 w 21"/>
                <a:gd name="T19" fmla="*/ 10 h 76"/>
                <a:gd name="T20" fmla="*/ 20 w 21"/>
                <a:gd name="T21" fmla="*/ 0 h 76"/>
                <a:gd name="T22" fmla="*/ 19 w 21"/>
                <a:gd name="T23" fmla="*/ 10 h 76"/>
                <a:gd name="T24" fmla="*/ 14 w 21"/>
                <a:gd name="T25" fmla="*/ 35 h 76"/>
                <a:gd name="T26" fmla="*/ 15 w 21"/>
                <a:gd name="T27" fmla="*/ 34 h 76"/>
                <a:gd name="T28" fmla="*/ 7 w 21"/>
                <a:gd name="T29" fmla="*/ 37 h 76"/>
                <a:gd name="T30" fmla="*/ 1 w 21"/>
                <a:gd name="T31" fmla="*/ 44 h 76"/>
                <a:gd name="T32" fmla="*/ 1 w 21"/>
                <a:gd name="T33" fmla="*/ 53 h 76"/>
                <a:gd name="T34" fmla="*/ 4 w 21"/>
                <a:gd name="T35" fmla="*/ 60 h 76"/>
                <a:gd name="T36" fmla="*/ 9 w 21"/>
                <a:gd name="T37" fmla="*/ 65 h 76"/>
                <a:gd name="T38" fmla="*/ 13 w 21"/>
                <a:gd name="T39" fmla="*/ 73 h 76"/>
                <a:gd name="T40" fmla="*/ 14 w 21"/>
                <a:gd name="T4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" h="76">
                  <a:moveTo>
                    <a:pt x="14" y="76"/>
                  </a:moveTo>
                  <a:cubicBezTo>
                    <a:pt x="14" y="76"/>
                    <a:pt x="14" y="75"/>
                    <a:pt x="14" y="73"/>
                  </a:cubicBezTo>
                  <a:cubicBezTo>
                    <a:pt x="14" y="70"/>
                    <a:pt x="13" y="67"/>
                    <a:pt x="10" y="64"/>
                  </a:cubicBezTo>
                  <a:cubicBezTo>
                    <a:pt x="7" y="61"/>
                    <a:pt x="4" y="58"/>
                    <a:pt x="3" y="53"/>
                  </a:cubicBezTo>
                  <a:cubicBezTo>
                    <a:pt x="2" y="50"/>
                    <a:pt x="2" y="48"/>
                    <a:pt x="3" y="45"/>
                  </a:cubicBezTo>
                  <a:cubicBezTo>
                    <a:pt x="4" y="43"/>
                    <a:pt x="6" y="40"/>
                    <a:pt x="8" y="39"/>
                  </a:cubicBezTo>
                  <a:cubicBezTo>
                    <a:pt x="10" y="37"/>
                    <a:pt x="13" y="36"/>
                    <a:pt x="15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8" y="25"/>
                    <a:pt x="20" y="16"/>
                    <a:pt x="20" y="10"/>
                  </a:cubicBezTo>
                  <a:cubicBezTo>
                    <a:pt x="21" y="3"/>
                    <a:pt x="20" y="0"/>
                    <a:pt x="20" y="0"/>
                  </a:cubicBezTo>
                  <a:cubicBezTo>
                    <a:pt x="20" y="0"/>
                    <a:pt x="20" y="3"/>
                    <a:pt x="19" y="10"/>
                  </a:cubicBezTo>
                  <a:cubicBezTo>
                    <a:pt x="18" y="16"/>
                    <a:pt x="16" y="25"/>
                    <a:pt x="14" y="35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2" y="34"/>
                    <a:pt x="9" y="35"/>
                    <a:pt x="7" y="37"/>
                  </a:cubicBezTo>
                  <a:cubicBezTo>
                    <a:pt x="4" y="39"/>
                    <a:pt x="2" y="42"/>
                    <a:pt x="1" y="44"/>
                  </a:cubicBezTo>
                  <a:cubicBezTo>
                    <a:pt x="0" y="47"/>
                    <a:pt x="0" y="50"/>
                    <a:pt x="1" y="53"/>
                  </a:cubicBezTo>
                  <a:cubicBezTo>
                    <a:pt x="1" y="56"/>
                    <a:pt x="3" y="58"/>
                    <a:pt x="4" y="60"/>
                  </a:cubicBezTo>
                  <a:cubicBezTo>
                    <a:pt x="6" y="62"/>
                    <a:pt x="8" y="64"/>
                    <a:pt x="9" y="65"/>
                  </a:cubicBezTo>
                  <a:cubicBezTo>
                    <a:pt x="12" y="68"/>
                    <a:pt x="13" y="71"/>
                    <a:pt x="13" y="73"/>
                  </a:cubicBezTo>
                  <a:cubicBezTo>
                    <a:pt x="14" y="75"/>
                    <a:pt x="13" y="76"/>
                    <a:pt x="14" y="76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9">
              <a:extLst>
                <a:ext uri="{FF2B5EF4-FFF2-40B4-BE49-F238E27FC236}">
                  <a16:creationId xmlns:a16="http://schemas.microsoft.com/office/drawing/2014/main" id="{E29844B1-3701-4CC2-9DAC-DB41191AF0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6663" y="1882776"/>
              <a:ext cx="38100" cy="76200"/>
            </a:xfrm>
            <a:custGeom>
              <a:avLst/>
              <a:gdLst>
                <a:gd name="T0" fmla="*/ 1 w 6"/>
                <a:gd name="T1" fmla="*/ 0 h 12"/>
                <a:gd name="T2" fmla="*/ 3 w 6"/>
                <a:gd name="T3" fmla="*/ 6 h 12"/>
                <a:gd name="T4" fmla="*/ 5 w 6"/>
                <a:gd name="T5" fmla="*/ 12 h 12"/>
                <a:gd name="T6" fmla="*/ 5 w 6"/>
                <a:gd name="T7" fmla="*/ 5 h 12"/>
                <a:gd name="T8" fmla="*/ 1 w 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1" y="0"/>
                  </a:moveTo>
                  <a:cubicBezTo>
                    <a:pt x="0" y="1"/>
                    <a:pt x="1" y="3"/>
                    <a:pt x="3" y="6"/>
                  </a:cubicBezTo>
                  <a:cubicBezTo>
                    <a:pt x="4" y="9"/>
                    <a:pt x="5" y="12"/>
                    <a:pt x="5" y="12"/>
                  </a:cubicBezTo>
                  <a:cubicBezTo>
                    <a:pt x="6" y="12"/>
                    <a:pt x="6" y="9"/>
                    <a:pt x="5" y="5"/>
                  </a:cubicBezTo>
                  <a:cubicBezTo>
                    <a:pt x="3" y="2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0">
              <a:extLst>
                <a:ext uri="{FF2B5EF4-FFF2-40B4-BE49-F238E27FC236}">
                  <a16:creationId xmlns:a16="http://schemas.microsoft.com/office/drawing/2014/main" id="{50386328-8EEE-4612-B68C-E1E108645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2338" y="2163763"/>
              <a:ext cx="327025" cy="153988"/>
            </a:xfrm>
            <a:custGeom>
              <a:avLst/>
              <a:gdLst>
                <a:gd name="T0" fmla="*/ 0 w 51"/>
                <a:gd name="T1" fmla="*/ 1 h 24"/>
                <a:gd name="T2" fmla="*/ 25 w 51"/>
                <a:gd name="T3" fmla="*/ 14 h 24"/>
                <a:gd name="T4" fmla="*/ 51 w 51"/>
                <a:gd name="T5" fmla="*/ 24 h 24"/>
                <a:gd name="T6" fmla="*/ 26 w 51"/>
                <a:gd name="T7" fmla="*/ 12 h 24"/>
                <a:gd name="T8" fmla="*/ 0 w 51"/>
                <a:gd name="T9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4">
                  <a:moveTo>
                    <a:pt x="0" y="1"/>
                  </a:moveTo>
                  <a:cubicBezTo>
                    <a:pt x="0" y="1"/>
                    <a:pt x="11" y="7"/>
                    <a:pt x="25" y="14"/>
                  </a:cubicBezTo>
                  <a:cubicBezTo>
                    <a:pt x="39" y="20"/>
                    <a:pt x="50" y="24"/>
                    <a:pt x="51" y="24"/>
                  </a:cubicBezTo>
                  <a:cubicBezTo>
                    <a:pt x="51" y="23"/>
                    <a:pt x="40" y="18"/>
                    <a:pt x="26" y="12"/>
                  </a:cubicBezTo>
                  <a:cubicBezTo>
                    <a:pt x="12" y="5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1">
              <a:extLst>
                <a:ext uri="{FF2B5EF4-FFF2-40B4-BE49-F238E27FC236}">
                  <a16:creationId xmlns:a16="http://schemas.microsoft.com/office/drawing/2014/main" id="{989913C6-4643-4DE6-A2D8-158096CAFD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1388" y="2119313"/>
              <a:ext cx="288925" cy="152400"/>
            </a:xfrm>
            <a:custGeom>
              <a:avLst/>
              <a:gdLst>
                <a:gd name="T0" fmla="*/ 0 w 45"/>
                <a:gd name="T1" fmla="*/ 0 h 24"/>
                <a:gd name="T2" fmla="*/ 22 w 45"/>
                <a:gd name="T3" fmla="*/ 13 h 24"/>
                <a:gd name="T4" fmla="*/ 45 w 45"/>
                <a:gd name="T5" fmla="*/ 24 h 24"/>
                <a:gd name="T6" fmla="*/ 23 w 45"/>
                <a:gd name="T7" fmla="*/ 11 h 24"/>
                <a:gd name="T8" fmla="*/ 0 w 4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4">
                  <a:moveTo>
                    <a:pt x="0" y="0"/>
                  </a:moveTo>
                  <a:cubicBezTo>
                    <a:pt x="0" y="1"/>
                    <a:pt x="10" y="6"/>
                    <a:pt x="22" y="13"/>
                  </a:cubicBezTo>
                  <a:cubicBezTo>
                    <a:pt x="34" y="19"/>
                    <a:pt x="45" y="24"/>
                    <a:pt x="45" y="24"/>
                  </a:cubicBezTo>
                  <a:cubicBezTo>
                    <a:pt x="45" y="23"/>
                    <a:pt x="35" y="18"/>
                    <a:pt x="23" y="11"/>
                  </a:cubicBezTo>
                  <a:cubicBezTo>
                    <a:pt x="11" y="5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2">
              <a:extLst>
                <a:ext uri="{FF2B5EF4-FFF2-40B4-BE49-F238E27FC236}">
                  <a16:creationId xmlns:a16="http://schemas.microsoft.com/office/drawing/2014/main" id="{F91042C1-CD6F-4766-BE54-2193AEF38B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2550" y="1889126"/>
              <a:ext cx="88900" cy="19050"/>
            </a:xfrm>
            <a:custGeom>
              <a:avLst/>
              <a:gdLst>
                <a:gd name="T0" fmla="*/ 0 w 14"/>
                <a:gd name="T1" fmla="*/ 1 h 3"/>
                <a:gd name="T2" fmla="*/ 7 w 14"/>
                <a:gd name="T3" fmla="*/ 2 h 3"/>
                <a:gd name="T4" fmla="*/ 14 w 14"/>
                <a:gd name="T5" fmla="*/ 2 h 3"/>
                <a:gd name="T6" fmla="*/ 7 w 14"/>
                <a:gd name="T7" fmla="*/ 0 h 3"/>
                <a:gd name="T8" fmla="*/ 0 w 14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3">
                  <a:moveTo>
                    <a:pt x="0" y="1"/>
                  </a:moveTo>
                  <a:cubicBezTo>
                    <a:pt x="0" y="2"/>
                    <a:pt x="3" y="2"/>
                    <a:pt x="7" y="2"/>
                  </a:cubicBezTo>
                  <a:cubicBezTo>
                    <a:pt x="11" y="3"/>
                    <a:pt x="14" y="2"/>
                    <a:pt x="14" y="2"/>
                  </a:cubicBezTo>
                  <a:cubicBezTo>
                    <a:pt x="14" y="1"/>
                    <a:pt x="11" y="1"/>
                    <a:pt x="7" y="0"/>
                  </a:cubicBezTo>
                  <a:cubicBezTo>
                    <a:pt x="3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3">
              <a:extLst>
                <a:ext uri="{FF2B5EF4-FFF2-40B4-BE49-F238E27FC236}">
                  <a16:creationId xmlns:a16="http://schemas.microsoft.com/office/drawing/2014/main" id="{6B8F5A1E-6402-4D38-85BE-99C7CF4D2F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200" y="1908176"/>
              <a:ext cx="101600" cy="31750"/>
            </a:xfrm>
            <a:custGeom>
              <a:avLst/>
              <a:gdLst>
                <a:gd name="T0" fmla="*/ 0 w 16"/>
                <a:gd name="T1" fmla="*/ 0 h 5"/>
                <a:gd name="T2" fmla="*/ 8 w 16"/>
                <a:gd name="T3" fmla="*/ 3 h 5"/>
                <a:gd name="T4" fmla="*/ 15 w 16"/>
                <a:gd name="T5" fmla="*/ 4 h 5"/>
                <a:gd name="T6" fmla="*/ 8 w 16"/>
                <a:gd name="T7" fmla="*/ 1 h 5"/>
                <a:gd name="T8" fmla="*/ 0 w 1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5">
                  <a:moveTo>
                    <a:pt x="0" y="0"/>
                  </a:moveTo>
                  <a:cubicBezTo>
                    <a:pt x="0" y="1"/>
                    <a:pt x="3" y="2"/>
                    <a:pt x="8" y="3"/>
                  </a:cubicBezTo>
                  <a:cubicBezTo>
                    <a:pt x="12" y="4"/>
                    <a:pt x="15" y="5"/>
                    <a:pt x="15" y="4"/>
                  </a:cubicBezTo>
                  <a:cubicBezTo>
                    <a:pt x="16" y="4"/>
                    <a:pt x="12" y="2"/>
                    <a:pt x="8" y="1"/>
                  </a:cubicBezTo>
                  <a:cubicBezTo>
                    <a:pt x="4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4">
              <a:extLst>
                <a:ext uri="{FF2B5EF4-FFF2-40B4-BE49-F238E27FC236}">
                  <a16:creationId xmlns:a16="http://schemas.microsoft.com/office/drawing/2014/main" id="{A1163717-9016-4369-A5ED-A43102C6E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4175" y="6138863"/>
              <a:ext cx="576263" cy="101600"/>
            </a:xfrm>
            <a:custGeom>
              <a:avLst/>
              <a:gdLst>
                <a:gd name="T0" fmla="*/ 39 w 90"/>
                <a:gd name="T1" fmla="*/ 0 h 16"/>
                <a:gd name="T2" fmla="*/ 10 w 90"/>
                <a:gd name="T3" fmla="*/ 13 h 16"/>
                <a:gd name="T4" fmla="*/ 88 w 90"/>
                <a:gd name="T5" fmla="*/ 9 h 16"/>
                <a:gd name="T6" fmla="*/ 90 w 90"/>
                <a:gd name="T7" fmla="*/ 1 h 16"/>
                <a:gd name="T8" fmla="*/ 39 w 9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6">
                  <a:moveTo>
                    <a:pt x="39" y="0"/>
                  </a:moveTo>
                  <a:cubicBezTo>
                    <a:pt x="39" y="0"/>
                    <a:pt x="0" y="10"/>
                    <a:pt x="10" y="13"/>
                  </a:cubicBezTo>
                  <a:cubicBezTo>
                    <a:pt x="19" y="16"/>
                    <a:pt x="88" y="9"/>
                    <a:pt x="88" y="9"/>
                  </a:cubicBezTo>
                  <a:cubicBezTo>
                    <a:pt x="90" y="1"/>
                    <a:pt x="90" y="1"/>
                    <a:pt x="90" y="1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5">
              <a:extLst>
                <a:ext uri="{FF2B5EF4-FFF2-40B4-BE49-F238E27FC236}">
                  <a16:creationId xmlns:a16="http://schemas.microsoft.com/office/drawing/2014/main" id="{525649FE-91AC-4773-8027-5EF4B8FBD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3413" y="5953126"/>
              <a:ext cx="404813" cy="242888"/>
            </a:xfrm>
            <a:custGeom>
              <a:avLst/>
              <a:gdLst>
                <a:gd name="T0" fmla="*/ 198 w 255"/>
                <a:gd name="T1" fmla="*/ 153 h 153"/>
                <a:gd name="T2" fmla="*/ 255 w 255"/>
                <a:gd name="T3" fmla="*/ 0 h 153"/>
                <a:gd name="T4" fmla="*/ 8 w 255"/>
                <a:gd name="T5" fmla="*/ 0 h 153"/>
                <a:gd name="T6" fmla="*/ 0 w 255"/>
                <a:gd name="T7" fmla="*/ 117 h 153"/>
                <a:gd name="T8" fmla="*/ 198 w 255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5" h="153">
                  <a:moveTo>
                    <a:pt x="198" y="153"/>
                  </a:moveTo>
                  <a:lnTo>
                    <a:pt x="255" y="0"/>
                  </a:lnTo>
                  <a:lnTo>
                    <a:pt x="8" y="0"/>
                  </a:lnTo>
                  <a:lnTo>
                    <a:pt x="0" y="117"/>
                  </a:lnTo>
                  <a:lnTo>
                    <a:pt x="198" y="153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6">
              <a:extLst>
                <a:ext uri="{FF2B5EF4-FFF2-40B4-BE49-F238E27FC236}">
                  <a16:creationId xmlns:a16="http://schemas.microsoft.com/office/drawing/2014/main" id="{B62A8E93-E7D6-4BEB-A0AE-1C14BC715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125" y="5621338"/>
              <a:ext cx="263525" cy="530225"/>
            </a:xfrm>
            <a:custGeom>
              <a:avLst/>
              <a:gdLst>
                <a:gd name="T0" fmla="*/ 10 w 41"/>
                <a:gd name="T1" fmla="*/ 44 h 83"/>
                <a:gd name="T2" fmla="*/ 7 w 41"/>
                <a:gd name="T3" fmla="*/ 76 h 83"/>
                <a:gd name="T4" fmla="*/ 41 w 41"/>
                <a:gd name="T5" fmla="*/ 5 h 83"/>
                <a:gd name="T6" fmla="*/ 36 w 41"/>
                <a:gd name="T7" fmla="*/ 0 h 83"/>
                <a:gd name="T8" fmla="*/ 10 w 41"/>
                <a:gd name="T9" fmla="*/ 4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3">
                  <a:moveTo>
                    <a:pt x="10" y="44"/>
                  </a:moveTo>
                  <a:cubicBezTo>
                    <a:pt x="10" y="44"/>
                    <a:pt x="0" y="83"/>
                    <a:pt x="7" y="76"/>
                  </a:cubicBezTo>
                  <a:cubicBezTo>
                    <a:pt x="15" y="69"/>
                    <a:pt x="41" y="5"/>
                    <a:pt x="41" y="5"/>
                  </a:cubicBezTo>
                  <a:cubicBezTo>
                    <a:pt x="36" y="0"/>
                    <a:pt x="36" y="0"/>
                    <a:pt x="36" y="0"/>
                  </a:cubicBezTo>
                  <a:lnTo>
                    <a:pt x="10" y="44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7">
              <a:extLst>
                <a:ext uri="{FF2B5EF4-FFF2-40B4-BE49-F238E27FC236}">
                  <a16:creationId xmlns:a16="http://schemas.microsoft.com/office/drawing/2014/main" id="{0F3DCE05-0CE3-42E3-8972-6367739745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98225" y="5461001"/>
              <a:ext cx="352425" cy="441325"/>
            </a:xfrm>
            <a:custGeom>
              <a:avLst/>
              <a:gdLst>
                <a:gd name="T0" fmla="*/ 222 w 222"/>
                <a:gd name="T1" fmla="*/ 121 h 278"/>
                <a:gd name="T2" fmla="*/ 117 w 222"/>
                <a:gd name="T3" fmla="*/ 0 h 278"/>
                <a:gd name="T4" fmla="*/ 0 w 222"/>
                <a:gd name="T5" fmla="*/ 213 h 278"/>
                <a:gd name="T6" fmla="*/ 97 w 222"/>
                <a:gd name="T7" fmla="*/ 278 h 278"/>
                <a:gd name="T8" fmla="*/ 222 w 222"/>
                <a:gd name="T9" fmla="*/ 121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278">
                  <a:moveTo>
                    <a:pt x="222" y="121"/>
                  </a:moveTo>
                  <a:lnTo>
                    <a:pt x="117" y="0"/>
                  </a:lnTo>
                  <a:lnTo>
                    <a:pt x="0" y="213"/>
                  </a:lnTo>
                  <a:lnTo>
                    <a:pt x="97" y="278"/>
                  </a:lnTo>
                  <a:lnTo>
                    <a:pt x="222" y="121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8">
              <a:extLst>
                <a:ext uri="{FF2B5EF4-FFF2-40B4-BE49-F238E27FC236}">
                  <a16:creationId xmlns:a16="http://schemas.microsoft.com/office/drawing/2014/main" id="{2E11F748-6613-44AA-A01B-43C478EA0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2550" y="700088"/>
              <a:ext cx="261938" cy="280988"/>
            </a:xfrm>
            <a:custGeom>
              <a:avLst/>
              <a:gdLst>
                <a:gd name="T0" fmla="*/ 40 w 41"/>
                <a:gd name="T1" fmla="*/ 1 h 44"/>
                <a:gd name="T2" fmla="*/ 31 w 41"/>
                <a:gd name="T3" fmla="*/ 2 h 44"/>
                <a:gd name="T4" fmla="*/ 12 w 41"/>
                <a:gd name="T5" fmla="*/ 14 h 44"/>
                <a:gd name="T6" fmla="*/ 1 w 41"/>
                <a:gd name="T7" fmla="*/ 34 h 44"/>
                <a:gd name="T8" fmla="*/ 1 w 41"/>
                <a:gd name="T9" fmla="*/ 44 h 44"/>
                <a:gd name="T10" fmla="*/ 3 w 41"/>
                <a:gd name="T11" fmla="*/ 35 h 44"/>
                <a:gd name="T12" fmla="*/ 13 w 41"/>
                <a:gd name="T13" fmla="*/ 15 h 44"/>
                <a:gd name="T14" fmla="*/ 32 w 41"/>
                <a:gd name="T15" fmla="*/ 3 h 44"/>
                <a:gd name="T16" fmla="*/ 40 w 41"/>
                <a:gd name="T17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44">
                  <a:moveTo>
                    <a:pt x="40" y="1"/>
                  </a:moveTo>
                  <a:cubicBezTo>
                    <a:pt x="40" y="1"/>
                    <a:pt x="37" y="0"/>
                    <a:pt x="31" y="2"/>
                  </a:cubicBezTo>
                  <a:cubicBezTo>
                    <a:pt x="25" y="4"/>
                    <a:pt x="18" y="7"/>
                    <a:pt x="12" y="14"/>
                  </a:cubicBezTo>
                  <a:cubicBezTo>
                    <a:pt x="5" y="21"/>
                    <a:pt x="2" y="29"/>
                    <a:pt x="1" y="34"/>
                  </a:cubicBezTo>
                  <a:cubicBezTo>
                    <a:pt x="0" y="40"/>
                    <a:pt x="0" y="44"/>
                    <a:pt x="1" y="44"/>
                  </a:cubicBezTo>
                  <a:cubicBezTo>
                    <a:pt x="1" y="44"/>
                    <a:pt x="1" y="40"/>
                    <a:pt x="3" y="35"/>
                  </a:cubicBezTo>
                  <a:cubicBezTo>
                    <a:pt x="4" y="29"/>
                    <a:pt x="7" y="22"/>
                    <a:pt x="13" y="15"/>
                  </a:cubicBezTo>
                  <a:cubicBezTo>
                    <a:pt x="19" y="9"/>
                    <a:pt x="26" y="5"/>
                    <a:pt x="32" y="3"/>
                  </a:cubicBezTo>
                  <a:cubicBezTo>
                    <a:pt x="37" y="2"/>
                    <a:pt x="41" y="1"/>
                    <a:pt x="40" y="1"/>
                  </a:cubicBez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9">
              <a:extLst>
                <a:ext uri="{FF2B5EF4-FFF2-40B4-BE49-F238E27FC236}">
                  <a16:creationId xmlns:a16="http://schemas.microsoft.com/office/drawing/2014/main" id="{D2D19466-3DAB-4FAC-A3D4-3D472D7AB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0713" y="1052513"/>
              <a:ext cx="103188" cy="114300"/>
            </a:xfrm>
            <a:custGeom>
              <a:avLst/>
              <a:gdLst>
                <a:gd name="T0" fmla="*/ 0 w 16"/>
                <a:gd name="T1" fmla="*/ 16 h 18"/>
                <a:gd name="T2" fmla="*/ 1 w 16"/>
                <a:gd name="T3" fmla="*/ 7 h 18"/>
                <a:gd name="T4" fmla="*/ 8 w 16"/>
                <a:gd name="T5" fmla="*/ 1 h 18"/>
                <a:gd name="T6" fmla="*/ 16 w 16"/>
                <a:gd name="T7" fmla="*/ 7 h 18"/>
                <a:gd name="T8" fmla="*/ 11 w 16"/>
                <a:gd name="T9" fmla="*/ 16 h 18"/>
                <a:gd name="T10" fmla="*/ 1 w 16"/>
                <a:gd name="T11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8">
                  <a:moveTo>
                    <a:pt x="0" y="16"/>
                  </a:moveTo>
                  <a:cubicBezTo>
                    <a:pt x="0" y="13"/>
                    <a:pt x="0" y="10"/>
                    <a:pt x="1" y="7"/>
                  </a:cubicBezTo>
                  <a:cubicBezTo>
                    <a:pt x="2" y="4"/>
                    <a:pt x="5" y="1"/>
                    <a:pt x="8" y="1"/>
                  </a:cubicBezTo>
                  <a:cubicBezTo>
                    <a:pt x="12" y="0"/>
                    <a:pt x="15" y="4"/>
                    <a:pt x="16" y="7"/>
                  </a:cubicBezTo>
                  <a:cubicBezTo>
                    <a:pt x="16" y="11"/>
                    <a:pt x="14" y="15"/>
                    <a:pt x="11" y="16"/>
                  </a:cubicBezTo>
                  <a:cubicBezTo>
                    <a:pt x="8" y="18"/>
                    <a:pt x="4" y="18"/>
                    <a:pt x="1" y="17"/>
                  </a:cubicBezTo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0">
              <a:extLst>
                <a:ext uri="{FF2B5EF4-FFF2-40B4-BE49-F238E27FC236}">
                  <a16:creationId xmlns:a16="http://schemas.microsoft.com/office/drawing/2014/main" id="{56F72516-5FF2-4B56-A44B-CDBF9F783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0988" y="930276"/>
              <a:ext cx="198438" cy="198438"/>
            </a:xfrm>
            <a:custGeom>
              <a:avLst/>
              <a:gdLst>
                <a:gd name="T0" fmla="*/ 0 w 31"/>
                <a:gd name="T1" fmla="*/ 15 h 31"/>
                <a:gd name="T2" fmla="*/ 1 w 31"/>
                <a:gd name="T3" fmla="*/ 12 h 31"/>
                <a:gd name="T4" fmla="*/ 7 w 31"/>
                <a:gd name="T5" fmla="*/ 4 h 31"/>
                <a:gd name="T6" fmla="*/ 13 w 31"/>
                <a:gd name="T7" fmla="*/ 1 h 31"/>
                <a:gd name="T8" fmla="*/ 20 w 31"/>
                <a:gd name="T9" fmla="*/ 2 h 31"/>
                <a:gd name="T10" fmla="*/ 27 w 31"/>
                <a:gd name="T11" fmla="*/ 7 h 31"/>
                <a:gd name="T12" fmla="*/ 30 w 31"/>
                <a:gd name="T13" fmla="*/ 15 h 31"/>
                <a:gd name="T14" fmla="*/ 27 w 31"/>
                <a:gd name="T15" fmla="*/ 24 h 31"/>
                <a:gd name="T16" fmla="*/ 20 w 31"/>
                <a:gd name="T17" fmla="*/ 29 h 31"/>
                <a:gd name="T18" fmla="*/ 13 w 31"/>
                <a:gd name="T19" fmla="*/ 30 h 31"/>
                <a:gd name="T20" fmla="*/ 7 w 31"/>
                <a:gd name="T21" fmla="*/ 27 h 31"/>
                <a:gd name="T22" fmla="*/ 1 w 31"/>
                <a:gd name="T23" fmla="*/ 19 h 31"/>
                <a:gd name="T24" fmla="*/ 0 w 31"/>
                <a:gd name="T25" fmla="*/ 15 h 31"/>
                <a:gd name="T26" fmla="*/ 0 w 31"/>
                <a:gd name="T27" fmla="*/ 16 h 31"/>
                <a:gd name="T28" fmla="*/ 1 w 31"/>
                <a:gd name="T29" fmla="*/ 19 h 31"/>
                <a:gd name="T30" fmla="*/ 6 w 31"/>
                <a:gd name="T31" fmla="*/ 27 h 31"/>
                <a:gd name="T32" fmla="*/ 12 w 31"/>
                <a:gd name="T33" fmla="*/ 30 h 31"/>
                <a:gd name="T34" fmla="*/ 21 w 31"/>
                <a:gd name="T35" fmla="*/ 30 h 31"/>
                <a:gd name="T36" fmla="*/ 28 w 31"/>
                <a:gd name="T37" fmla="*/ 24 h 31"/>
                <a:gd name="T38" fmla="*/ 31 w 31"/>
                <a:gd name="T39" fmla="*/ 15 h 31"/>
                <a:gd name="T40" fmla="*/ 28 w 31"/>
                <a:gd name="T41" fmla="*/ 6 h 31"/>
                <a:gd name="T42" fmla="*/ 21 w 31"/>
                <a:gd name="T43" fmla="*/ 1 h 31"/>
                <a:gd name="T44" fmla="*/ 12 w 31"/>
                <a:gd name="T45" fmla="*/ 0 h 31"/>
                <a:gd name="T46" fmla="*/ 6 w 31"/>
                <a:gd name="T47" fmla="*/ 3 h 31"/>
                <a:gd name="T48" fmla="*/ 1 w 31"/>
                <a:gd name="T49" fmla="*/ 12 h 31"/>
                <a:gd name="T50" fmla="*/ 0 w 31"/>
                <a:gd name="T51" fmla="*/ 14 h 31"/>
                <a:gd name="T52" fmla="*/ 0 w 31"/>
                <a:gd name="T53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1" h="31">
                  <a:moveTo>
                    <a:pt x="0" y="15"/>
                  </a:moveTo>
                  <a:cubicBezTo>
                    <a:pt x="1" y="15"/>
                    <a:pt x="0" y="14"/>
                    <a:pt x="1" y="12"/>
                  </a:cubicBezTo>
                  <a:cubicBezTo>
                    <a:pt x="2" y="9"/>
                    <a:pt x="3" y="6"/>
                    <a:pt x="7" y="4"/>
                  </a:cubicBezTo>
                  <a:cubicBezTo>
                    <a:pt x="8" y="2"/>
                    <a:pt x="10" y="1"/>
                    <a:pt x="13" y="1"/>
                  </a:cubicBezTo>
                  <a:cubicBezTo>
                    <a:pt x="15" y="1"/>
                    <a:pt x="18" y="1"/>
                    <a:pt x="20" y="2"/>
                  </a:cubicBezTo>
                  <a:cubicBezTo>
                    <a:pt x="23" y="3"/>
                    <a:pt x="25" y="4"/>
                    <a:pt x="27" y="7"/>
                  </a:cubicBezTo>
                  <a:cubicBezTo>
                    <a:pt x="29" y="9"/>
                    <a:pt x="30" y="12"/>
                    <a:pt x="30" y="15"/>
                  </a:cubicBezTo>
                  <a:cubicBezTo>
                    <a:pt x="30" y="18"/>
                    <a:pt x="29" y="21"/>
                    <a:pt x="27" y="24"/>
                  </a:cubicBezTo>
                  <a:cubicBezTo>
                    <a:pt x="25" y="26"/>
                    <a:pt x="23" y="28"/>
                    <a:pt x="20" y="29"/>
                  </a:cubicBezTo>
                  <a:cubicBezTo>
                    <a:pt x="18" y="30"/>
                    <a:pt x="15" y="30"/>
                    <a:pt x="13" y="30"/>
                  </a:cubicBezTo>
                  <a:cubicBezTo>
                    <a:pt x="10" y="29"/>
                    <a:pt x="8" y="28"/>
                    <a:pt x="7" y="27"/>
                  </a:cubicBezTo>
                  <a:cubicBezTo>
                    <a:pt x="3" y="24"/>
                    <a:pt x="2" y="21"/>
                    <a:pt x="1" y="19"/>
                  </a:cubicBezTo>
                  <a:cubicBezTo>
                    <a:pt x="0" y="17"/>
                    <a:pt x="1" y="15"/>
                    <a:pt x="0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17"/>
                    <a:pt x="0" y="18"/>
                    <a:pt x="1" y="19"/>
                  </a:cubicBezTo>
                  <a:cubicBezTo>
                    <a:pt x="1" y="21"/>
                    <a:pt x="3" y="25"/>
                    <a:pt x="6" y="27"/>
                  </a:cubicBezTo>
                  <a:cubicBezTo>
                    <a:pt x="8" y="29"/>
                    <a:pt x="10" y="30"/>
                    <a:pt x="12" y="30"/>
                  </a:cubicBezTo>
                  <a:cubicBezTo>
                    <a:pt x="15" y="31"/>
                    <a:pt x="18" y="31"/>
                    <a:pt x="21" y="30"/>
                  </a:cubicBezTo>
                  <a:cubicBezTo>
                    <a:pt x="23" y="29"/>
                    <a:pt x="26" y="27"/>
                    <a:pt x="28" y="24"/>
                  </a:cubicBezTo>
                  <a:cubicBezTo>
                    <a:pt x="30" y="22"/>
                    <a:pt x="31" y="19"/>
                    <a:pt x="31" y="15"/>
                  </a:cubicBezTo>
                  <a:cubicBezTo>
                    <a:pt x="31" y="12"/>
                    <a:pt x="30" y="9"/>
                    <a:pt x="28" y="6"/>
                  </a:cubicBezTo>
                  <a:cubicBezTo>
                    <a:pt x="26" y="4"/>
                    <a:pt x="23" y="2"/>
                    <a:pt x="21" y="1"/>
                  </a:cubicBezTo>
                  <a:cubicBezTo>
                    <a:pt x="18" y="0"/>
                    <a:pt x="15" y="0"/>
                    <a:pt x="12" y="0"/>
                  </a:cubicBezTo>
                  <a:cubicBezTo>
                    <a:pt x="10" y="1"/>
                    <a:pt x="8" y="2"/>
                    <a:pt x="6" y="3"/>
                  </a:cubicBezTo>
                  <a:cubicBezTo>
                    <a:pt x="3" y="6"/>
                    <a:pt x="1" y="9"/>
                    <a:pt x="1" y="12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1">
              <a:extLst>
                <a:ext uri="{FF2B5EF4-FFF2-40B4-BE49-F238E27FC236}">
                  <a16:creationId xmlns:a16="http://schemas.microsoft.com/office/drawing/2014/main" id="{B17D0602-3501-4E99-86B9-3003D21A23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3500" y="930276"/>
              <a:ext cx="192088" cy="198438"/>
            </a:xfrm>
            <a:custGeom>
              <a:avLst/>
              <a:gdLst>
                <a:gd name="T0" fmla="*/ 0 w 30"/>
                <a:gd name="T1" fmla="*/ 15 h 31"/>
                <a:gd name="T2" fmla="*/ 1 w 30"/>
                <a:gd name="T3" fmla="*/ 12 h 31"/>
                <a:gd name="T4" fmla="*/ 6 w 30"/>
                <a:gd name="T5" fmla="*/ 4 h 31"/>
                <a:gd name="T6" fmla="*/ 12 w 30"/>
                <a:gd name="T7" fmla="*/ 1 h 31"/>
                <a:gd name="T8" fmla="*/ 20 w 30"/>
                <a:gd name="T9" fmla="*/ 2 h 31"/>
                <a:gd name="T10" fmla="*/ 26 w 30"/>
                <a:gd name="T11" fmla="*/ 7 h 31"/>
                <a:gd name="T12" fmla="*/ 29 w 30"/>
                <a:gd name="T13" fmla="*/ 15 h 31"/>
                <a:gd name="T14" fmla="*/ 26 w 30"/>
                <a:gd name="T15" fmla="*/ 24 h 31"/>
                <a:gd name="T16" fmla="*/ 20 w 30"/>
                <a:gd name="T17" fmla="*/ 29 h 31"/>
                <a:gd name="T18" fmla="*/ 12 w 30"/>
                <a:gd name="T19" fmla="*/ 30 h 31"/>
                <a:gd name="T20" fmla="*/ 6 w 30"/>
                <a:gd name="T21" fmla="*/ 27 h 31"/>
                <a:gd name="T22" fmla="*/ 1 w 30"/>
                <a:gd name="T23" fmla="*/ 19 h 31"/>
                <a:gd name="T24" fmla="*/ 0 w 30"/>
                <a:gd name="T25" fmla="*/ 15 h 31"/>
                <a:gd name="T26" fmla="*/ 0 w 30"/>
                <a:gd name="T27" fmla="*/ 16 h 31"/>
                <a:gd name="T28" fmla="*/ 0 w 30"/>
                <a:gd name="T29" fmla="*/ 19 h 31"/>
                <a:gd name="T30" fmla="*/ 6 w 30"/>
                <a:gd name="T31" fmla="*/ 27 h 31"/>
                <a:gd name="T32" fmla="*/ 12 w 30"/>
                <a:gd name="T33" fmla="*/ 30 h 31"/>
                <a:gd name="T34" fmla="*/ 20 w 30"/>
                <a:gd name="T35" fmla="*/ 30 h 31"/>
                <a:gd name="T36" fmla="*/ 27 w 30"/>
                <a:gd name="T37" fmla="*/ 24 h 31"/>
                <a:gd name="T38" fmla="*/ 30 w 30"/>
                <a:gd name="T39" fmla="*/ 15 h 31"/>
                <a:gd name="T40" fmla="*/ 27 w 30"/>
                <a:gd name="T41" fmla="*/ 6 h 31"/>
                <a:gd name="T42" fmla="*/ 20 w 30"/>
                <a:gd name="T43" fmla="*/ 1 h 31"/>
                <a:gd name="T44" fmla="*/ 12 w 30"/>
                <a:gd name="T45" fmla="*/ 0 h 31"/>
                <a:gd name="T46" fmla="*/ 6 w 30"/>
                <a:gd name="T47" fmla="*/ 3 h 31"/>
                <a:gd name="T48" fmla="*/ 0 w 30"/>
                <a:gd name="T49" fmla="*/ 12 h 31"/>
                <a:gd name="T50" fmla="*/ 0 w 30"/>
                <a:gd name="T51" fmla="*/ 14 h 31"/>
                <a:gd name="T52" fmla="*/ 0 w 30"/>
                <a:gd name="T53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" h="31">
                  <a:moveTo>
                    <a:pt x="0" y="15"/>
                  </a:moveTo>
                  <a:cubicBezTo>
                    <a:pt x="0" y="15"/>
                    <a:pt x="0" y="14"/>
                    <a:pt x="1" y="12"/>
                  </a:cubicBezTo>
                  <a:cubicBezTo>
                    <a:pt x="1" y="9"/>
                    <a:pt x="3" y="6"/>
                    <a:pt x="6" y="4"/>
                  </a:cubicBezTo>
                  <a:cubicBezTo>
                    <a:pt x="8" y="2"/>
                    <a:pt x="10" y="1"/>
                    <a:pt x="12" y="1"/>
                  </a:cubicBezTo>
                  <a:cubicBezTo>
                    <a:pt x="15" y="1"/>
                    <a:pt x="17" y="1"/>
                    <a:pt x="20" y="2"/>
                  </a:cubicBezTo>
                  <a:cubicBezTo>
                    <a:pt x="22" y="3"/>
                    <a:pt x="25" y="4"/>
                    <a:pt x="26" y="7"/>
                  </a:cubicBezTo>
                  <a:cubicBezTo>
                    <a:pt x="28" y="9"/>
                    <a:pt x="29" y="12"/>
                    <a:pt x="29" y="15"/>
                  </a:cubicBezTo>
                  <a:cubicBezTo>
                    <a:pt x="29" y="18"/>
                    <a:pt x="28" y="21"/>
                    <a:pt x="26" y="24"/>
                  </a:cubicBezTo>
                  <a:cubicBezTo>
                    <a:pt x="25" y="26"/>
                    <a:pt x="22" y="28"/>
                    <a:pt x="20" y="29"/>
                  </a:cubicBezTo>
                  <a:cubicBezTo>
                    <a:pt x="17" y="30"/>
                    <a:pt x="15" y="30"/>
                    <a:pt x="12" y="30"/>
                  </a:cubicBezTo>
                  <a:cubicBezTo>
                    <a:pt x="10" y="29"/>
                    <a:pt x="8" y="28"/>
                    <a:pt x="6" y="27"/>
                  </a:cubicBezTo>
                  <a:cubicBezTo>
                    <a:pt x="3" y="24"/>
                    <a:pt x="1" y="21"/>
                    <a:pt x="1" y="19"/>
                  </a:cubicBezTo>
                  <a:cubicBezTo>
                    <a:pt x="0" y="17"/>
                    <a:pt x="0" y="15"/>
                    <a:pt x="0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17"/>
                    <a:pt x="0" y="18"/>
                    <a:pt x="0" y="19"/>
                  </a:cubicBezTo>
                  <a:cubicBezTo>
                    <a:pt x="1" y="21"/>
                    <a:pt x="2" y="25"/>
                    <a:pt x="6" y="27"/>
                  </a:cubicBezTo>
                  <a:cubicBezTo>
                    <a:pt x="7" y="29"/>
                    <a:pt x="9" y="30"/>
                    <a:pt x="12" y="30"/>
                  </a:cubicBezTo>
                  <a:cubicBezTo>
                    <a:pt x="15" y="31"/>
                    <a:pt x="17" y="31"/>
                    <a:pt x="20" y="30"/>
                  </a:cubicBezTo>
                  <a:cubicBezTo>
                    <a:pt x="23" y="29"/>
                    <a:pt x="25" y="27"/>
                    <a:pt x="27" y="24"/>
                  </a:cubicBezTo>
                  <a:cubicBezTo>
                    <a:pt x="29" y="22"/>
                    <a:pt x="30" y="19"/>
                    <a:pt x="30" y="15"/>
                  </a:cubicBezTo>
                  <a:cubicBezTo>
                    <a:pt x="30" y="12"/>
                    <a:pt x="29" y="9"/>
                    <a:pt x="27" y="6"/>
                  </a:cubicBezTo>
                  <a:cubicBezTo>
                    <a:pt x="25" y="4"/>
                    <a:pt x="23" y="2"/>
                    <a:pt x="20" y="1"/>
                  </a:cubicBezTo>
                  <a:cubicBezTo>
                    <a:pt x="17" y="0"/>
                    <a:pt x="15" y="0"/>
                    <a:pt x="12" y="0"/>
                  </a:cubicBezTo>
                  <a:cubicBezTo>
                    <a:pt x="10" y="1"/>
                    <a:pt x="7" y="2"/>
                    <a:pt x="6" y="3"/>
                  </a:cubicBezTo>
                  <a:cubicBezTo>
                    <a:pt x="2" y="6"/>
                    <a:pt x="1" y="9"/>
                    <a:pt x="0" y="12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Oval 42">
              <a:extLst>
                <a:ext uri="{FF2B5EF4-FFF2-40B4-BE49-F238E27FC236}">
                  <a16:creationId xmlns:a16="http://schemas.microsoft.com/office/drawing/2014/main" id="{C7B02D9F-7899-44C1-8031-7ECF33B29D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15588" y="1027113"/>
              <a:ext cx="31750" cy="6350"/>
            </a:xfrm>
            <a:prstGeom prst="ellipse">
              <a:avLst/>
            </a:pr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3">
              <a:extLst>
                <a:ext uri="{FF2B5EF4-FFF2-40B4-BE49-F238E27FC236}">
                  <a16:creationId xmlns:a16="http://schemas.microsoft.com/office/drawing/2014/main" id="{09CDC6EB-41D7-48C2-865F-F883B4965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33075" y="1046163"/>
              <a:ext cx="166688" cy="38100"/>
            </a:xfrm>
            <a:custGeom>
              <a:avLst/>
              <a:gdLst>
                <a:gd name="T0" fmla="*/ 0 w 26"/>
                <a:gd name="T1" fmla="*/ 0 h 6"/>
                <a:gd name="T2" fmla="*/ 13 w 26"/>
                <a:gd name="T3" fmla="*/ 4 h 6"/>
                <a:gd name="T4" fmla="*/ 26 w 26"/>
                <a:gd name="T5" fmla="*/ 6 h 6"/>
                <a:gd name="T6" fmla="*/ 13 w 26"/>
                <a:gd name="T7" fmla="*/ 3 h 6"/>
                <a:gd name="T8" fmla="*/ 0 w 2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6">
                  <a:moveTo>
                    <a:pt x="0" y="0"/>
                  </a:moveTo>
                  <a:cubicBezTo>
                    <a:pt x="0" y="1"/>
                    <a:pt x="6" y="2"/>
                    <a:pt x="13" y="4"/>
                  </a:cubicBezTo>
                  <a:cubicBezTo>
                    <a:pt x="20" y="5"/>
                    <a:pt x="26" y="6"/>
                    <a:pt x="26" y="6"/>
                  </a:cubicBezTo>
                  <a:cubicBezTo>
                    <a:pt x="26" y="5"/>
                    <a:pt x="20" y="4"/>
                    <a:pt x="13" y="3"/>
                  </a:cubicBezTo>
                  <a:cubicBezTo>
                    <a:pt x="6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4">
              <a:extLst>
                <a:ext uri="{FF2B5EF4-FFF2-40B4-BE49-F238E27FC236}">
                  <a16:creationId xmlns:a16="http://schemas.microsoft.com/office/drawing/2014/main" id="{852AD261-4E6D-4083-AB0B-E9CDEF49C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3013" y="2119313"/>
              <a:ext cx="96838" cy="127000"/>
            </a:xfrm>
            <a:custGeom>
              <a:avLst/>
              <a:gdLst>
                <a:gd name="T0" fmla="*/ 1 w 15"/>
                <a:gd name="T1" fmla="*/ 12 h 20"/>
                <a:gd name="T2" fmla="*/ 10 w 15"/>
                <a:gd name="T3" fmla="*/ 18 h 20"/>
                <a:gd name="T4" fmla="*/ 14 w 15"/>
                <a:gd name="T5" fmla="*/ 8 h 20"/>
                <a:gd name="T6" fmla="*/ 4 w 15"/>
                <a:gd name="T7" fmla="*/ 2 h 20"/>
                <a:gd name="T8" fmla="*/ 1 w 15"/>
                <a:gd name="T9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0">
                  <a:moveTo>
                    <a:pt x="1" y="12"/>
                  </a:moveTo>
                  <a:cubicBezTo>
                    <a:pt x="3" y="17"/>
                    <a:pt x="7" y="20"/>
                    <a:pt x="10" y="18"/>
                  </a:cubicBezTo>
                  <a:cubicBezTo>
                    <a:pt x="14" y="17"/>
                    <a:pt x="15" y="13"/>
                    <a:pt x="14" y="8"/>
                  </a:cubicBezTo>
                  <a:cubicBezTo>
                    <a:pt x="12" y="3"/>
                    <a:pt x="8" y="0"/>
                    <a:pt x="4" y="2"/>
                  </a:cubicBezTo>
                  <a:cubicBezTo>
                    <a:pt x="1" y="3"/>
                    <a:pt x="0" y="8"/>
                    <a:pt x="1" y="12"/>
                  </a:cubicBezTo>
                  <a:close/>
                </a:path>
              </a:pathLst>
            </a:custGeom>
            <a:solidFill>
              <a:srgbClr val="F3F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4" name="Freeform 45">
              <a:extLst>
                <a:ext uri="{FF2B5EF4-FFF2-40B4-BE49-F238E27FC236}">
                  <a16:creationId xmlns:a16="http://schemas.microsoft.com/office/drawing/2014/main" id="{9C902E33-8932-4431-A094-08DC66369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1492251"/>
              <a:ext cx="307975" cy="1444625"/>
            </a:xfrm>
            <a:custGeom>
              <a:avLst/>
              <a:gdLst>
                <a:gd name="T0" fmla="*/ 12 w 48"/>
                <a:gd name="T1" fmla="*/ 224 h 226"/>
                <a:gd name="T2" fmla="*/ 16 w 48"/>
                <a:gd name="T3" fmla="*/ 35 h 226"/>
                <a:gd name="T4" fmla="*/ 48 w 48"/>
                <a:gd name="T5" fmla="*/ 1 h 226"/>
                <a:gd name="T6" fmla="*/ 36 w 48"/>
                <a:gd name="T7" fmla="*/ 2 h 226"/>
                <a:gd name="T8" fmla="*/ 7 w 48"/>
                <a:gd name="T9" fmla="*/ 45 h 226"/>
                <a:gd name="T10" fmla="*/ 1 w 48"/>
                <a:gd name="T11" fmla="*/ 226 h 226"/>
                <a:gd name="T12" fmla="*/ 12 w 48"/>
                <a:gd name="T13" fmla="*/ 224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226">
                  <a:moveTo>
                    <a:pt x="12" y="224"/>
                  </a:moveTo>
                  <a:cubicBezTo>
                    <a:pt x="12" y="224"/>
                    <a:pt x="10" y="48"/>
                    <a:pt x="16" y="35"/>
                  </a:cubicBezTo>
                  <a:cubicBezTo>
                    <a:pt x="16" y="35"/>
                    <a:pt x="23" y="1"/>
                    <a:pt x="48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14" y="0"/>
                    <a:pt x="7" y="45"/>
                  </a:cubicBezTo>
                  <a:cubicBezTo>
                    <a:pt x="0" y="90"/>
                    <a:pt x="1" y="226"/>
                    <a:pt x="1" y="226"/>
                  </a:cubicBezTo>
                  <a:lnTo>
                    <a:pt x="12" y="224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5" name="Freeform 46">
              <a:extLst>
                <a:ext uri="{FF2B5EF4-FFF2-40B4-BE49-F238E27FC236}">
                  <a16:creationId xmlns:a16="http://schemas.microsoft.com/office/drawing/2014/main" id="{D31A86B4-606D-4B92-A5B8-A21BEC632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200" y="1538288"/>
              <a:ext cx="95250" cy="1423988"/>
            </a:xfrm>
            <a:custGeom>
              <a:avLst/>
              <a:gdLst>
                <a:gd name="T0" fmla="*/ 15 w 15"/>
                <a:gd name="T1" fmla="*/ 223 h 223"/>
                <a:gd name="T2" fmla="*/ 13 w 15"/>
                <a:gd name="T3" fmla="*/ 0 h 223"/>
                <a:gd name="T4" fmla="*/ 6 w 15"/>
                <a:gd name="T5" fmla="*/ 0 h 223"/>
                <a:gd name="T6" fmla="*/ 1 w 15"/>
                <a:gd name="T7" fmla="*/ 66 h 223"/>
                <a:gd name="T8" fmla="*/ 1 w 15"/>
                <a:gd name="T9" fmla="*/ 223 h 223"/>
                <a:gd name="T10" fmla="*/ 15 w 15"/>
                <a:gd name="T11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3">
                  <a:moveTo>
                    <a:pt x="15" y="223"/>
                  </a:moveTo>
                  <a:cubicBezTo>
                    <a:pt x="15" y="223"/>
                    <a:pt x="8" y="21"/>
                    <a:pt x="1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0" y="17"/>
                    <a:pt x="1" y="66"/>
                  </a:cubicBezTo>
                  <a:cubicBezTo>
                    <a:pt x="2" y="95"/>
                    <a:pt x="1" y="223"/>
                    <a:pt x="1" y="223"/>
                  </a:cubicBezTo>
                  <a:lnTo>
                    <a:pt x="15" y="223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6" name="Freeform 47">
              <a:extLst>
                <a:ext uri="{FF2B5EF4-FFF2-40B4-BE49-F238E27FC236}">
                  <a16:creationId xmlns:a16="http://schemas.microsoft.com/office/drawing/2014/main" id="{BAE48FD1-C25D-4AB8-ACEA-091B061C6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5775" y="2393951"/>
              <a:ext cx="436563" cy="185738"/>
            </a:xfrm>
            <a:custGeom>
              <a:avLst/>
              <a:gdLst>
                <a:gd name="T0" fmla="*/ 68 w 68"/>
                <a:gd name="T1" fmla="*/ 0 h 29"/>
                <a:gd name="T2" fmla="*/ 27 w 68"/>
                <a:gd name="T3" fmla="*/ 20 h 29"/>
                <a:gd name="T4" fmla="*/ 2 w 68"/>
                <a:gd name="T5" fmla="*/ 23 h 29"/>
                <a:gd name="T6" fmla="*/ 27 w 68"/>
                <a:gd name="T7" fmla="*/ 29 h 29"/>
                <a:gd name="T8" fmla="*/ 68 w 68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29">
                  <a:moveTo>
                    <a:pt x="68" y="0"/>
                  </a:moveTo>
                  <a:cubicBezTo>
                    <a:pt x="68" y="0"/>
                    <a:pt x="35" y="21"/>
                    <a:pt x="27" y="20"/>
                  </a:cubicBezTo>
                  <a:cubicBezTo>
                    <a:pt x="20" y="20"/>
                    <a:pt x="0" y="20"/>
                    <a:pt x="2" y="23"/>
                  </a:cubicBezTo>
                  <a:cubicBezTo>
                    <a:pt x="4" y="25"/>
                    <a:pt x="27" y="29"/>
                    <a:pt x="27" y="29"/>
                  </a:cubicBezTo>
                  <a:lnTo>
                    <a:pt x="68" y="0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7" name="Freeform 48">
              <a:extLst>
                <a:ext uri="{FF2B5EF4-FFF2-40B4-BE49-F238E27FC236}">
                  <a16:creationId xmlns:a16="http://schemas.microsoft.com/office/drawing/2014/main" id="{BEB0D6EF-4102-4084-95E5-08DEADBDC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8813" y="1863726"/>
              <a:ext cx="1571625" cy="1079500"/>
            </a:xfrm>
            <a:custGeom>
              <a:avLst/>
              <a:gdLst>
                <a:gd name="T0" fmla="*/ 43 w 245"/>
                <a:gd name="T1" fmla="*/ 127 h 169"/>
                <a:gd name="T2" fmla="*/ 222 w 245"/>
                <a:gd name="T3" fmla="*/ 101 h 169"/>
                <a:gd name="T4" fmla="*/ 245 w 245"/>
                <a:gd name="T5" fmla="*/ 48 h 169"/>
                <a:gd name="T6" fmla="*/ 196 w 245"/>
                <a:gd name="T7" fmla="*/ 0 h 169"/>
                <a:gd name="T8" fmla="*/ 162 w 245"/>
                <a:gd name="T9" fmla="*/ 85 h 169"/>
                <a:gd name="T10" fmla="*/ 57 w 245"/>
                <a:gd name="T11" fmla="*/ 86 h 169"/>
                <a:gd name="T12" fmla="*/ 51 w 245"/>
                <a:gd name="T13" fmla="*/ 80 h 169"/>
                <a:gd name="T14" fmla="*/ 46 w 245"/>
                <a:gd name="T15" fmla="*/ 74 h 169"/>
                <a:gd name="T16" fmla="*/ 42 w 245"/>
                <a:gd name="T17" fmla="*/ 64 h 169"/>
                <a:gd name="T18" fmla="*/ 36 w 245"/>
                <a:gd name="T19" fmla="*/ 62 h 169"/>
                <a:gd name="T20" fmla="*/ 41 w 245"/>
                <a:gd name="T21" fmla="*/ 83 h 169"/>
                <a:gd name="T22" fmla="*/ 0 w 245"/>
                <a:gd name="T23" fmla="*/ 112 h 169"/>
                <a:gd name="T24" fmla="*/ 43 w 245"/>
                <a:gd name="T25" fmla="*/ 127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5" h="169">
                  <a:moveTo>
                    <a:pt x="43" y="127"/>
                  </a:moveTo>
                  <a:cubicBezTo>
                    <a:pt x="43" y="127"/>
                    <a:pt x="200" y="169"/>
                    <a:pt x="222" y="101"/>
                  </a:cubicBezTo>
                  <a:cubicBezTo>
                    <a:pt x="244" y="29"/>
                    <a:pt x="245" y="48"/>
                    <a:pt x="245" y="48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196" y="0"/>
                    <a:pt x="169" y="83"/>
                    <a:pt x="162" y="85"/>
                  </a:cubicBezTo>
                  <a:cubicBezTo>
                    <a:pt x="121" y="96"/>
                    <a:pt x="74" y="89"/>
                    <a:pt x="57" y="86"/>
                  </a:cubicBezTo>
                  <a:cubicBezTo>
                    <a:pt x="55" y="85"/>
                    <a:pt x="53" y="83"/>
                    <a:pt x="51" y="80"/>
                  </a:cubicBezTo>
                  <a:cubicBezTo>
                    <a:pt x="49" y="79"/>
                    <a:pt x="47" y="76"/>
                    <a:pt x="46" y="74"/>
                  </a:cubicBezTo>
                  <a:cubicBezTo>
                    <a:pt x="44" y="71"/>
                    <a:pt x="42" y="66"/>
                    <a:pt x="42" y="64"/>
                  </a:cubicBezTo>
                  <a:cubicBezTo>
                    <a:pt x="41" y="60"/>
                    <a:pt x="37" y="59"/>
                    <a:pt x="36" y="62"/>
                  </a:cubicBezTo>
                  <a:cubicBezTo>
                    <a:pt x="34" y="65"/>
                    <a:pt x="35" y="74"/>
                    <a:pt x="41" y="83"/>
                  </a:cubicBezTo>
                  <a:cubicBezTo>
                    <a:pt x="41" y="83"/>
                    <a:pt x="4" y="107"/>
                    <a:pt x="0" y="112"/>
                  </a:cubicBezTo>
                  <a:lnTo>
                    <a:pt x="43" y="127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8" name="Freeform 49">
              <a:extLst>
                <a:ext uri="{FF2B5EF4-FFF2-40B4-BE49-F238E27FC236}">
                  <a16:creationId xmlns:a16="http://schemas.microsoft.com/office/drawing/2014/main" id="{EFA7358D-A210-454D-88BB-89C4F7A0F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1498601"/>
              <a:ext cx="531813" cy="1041400"/>
            </a:xfrm>
            <a:custGeom>
              <a:avLst/>
              <a:gdLst>
                <a:gd name="T0" fmla="*/ 45 w 83"/>
                <a:gd name="T1" fmla="*/ 0 h 163"/>
                <a:gd name="T2" fmla="*/ 82 w 83"/>
                <a:gd name="T3" fmla="*/ 63 h 163"/>
                <a:gd name="T4" fmla="*/ 61 w 83"/>
                <a:gd name="T5" fmla="*/ 163 h 163"/>
                <a:gd name="T6" fmla="*/ 0 w 83"/>
                <a:gd name="T7" fmla="*/ 131 h 163"/>
                <a:gd name="T8" fmla="*/ 45 w 83"/>
                <a:gd name="T9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163">
                  <a:moveTo>
                    <a:pt x="45" y="0"/>
                  </a:moveTo>
                  <a:cubicBezTo>
                    <a:pt x="45" y="0"/>
                    <a:pt x="80" y="7"/>
                    <a:pt x="82" y="63"/>
                  </a:cubicBezTo>
                  <a:cubicBezTo>
                    <a:pt x="83" y="120"/>
                    <a:pt x="61" y="163"/>
                    <a:pt x="61" y="163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45" y="0"/>
                    <a:pt x="45" y="0"/>
                    <a:pt x="45" y="0"/>
                  </a:cubicBezTo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9" name="Freeform 50">
              <a:extLst>
                <a:ext uri="{FF2B5EF4-FFF2-40B4-BE49-F238E27FC236}">
                  <a16:creationId xmlns:a16="http://schemas.microsoft.com/office/drawing/2014/main" id="{513C2B05-7975-48A1-8B81-DFAF0F05C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2336801"/>
              <a:ext cx="390525" cy="203200"/>
            </a:xfrm>
            <a:custGeom>
              <a:avLst/>
              <a:gdLst>
                <a:gd name="T0" fmla="*/ 0 w 61"/>
                <a:gd name="T1" fmla="*/ 0 h 32"/>
                <a:gd name="T2" fmla="*/ 9 w 61"/>
                <a:gd name="T3" fmla="*/ 5 h 32"/>
                <a:gd name="T4" fmla="*/ 31 w 61"/>
                <a:gd name="T5" fmla="*/ 15 h 32"/>
                <a:gd name="T6" fmla="*/ 52 w 61"/>
                <a:gd name="T7" fmla="*/ 27 h 32"/>
                <a:gd name="T8" fmla="*/ 61 w 61"/>
                <a:gd name="T9" fmla="*/ 32 h 32"/>
                <a:gd name="T10" fmla="*/ 53 w 61"/>
                <a:gd name="T11" fmla="*/ 26 h 32"/>
                <a:gd name="T12" fmla="*/ 32 w 61"/>
                <a:gd name="T13" fmla="*/ 14 h 32"/>
                <a:gd name="T14" fmla="*/ 10 w 61"/>
                <a:gd name="T15" fmla="*/ 3 h 32"/>
                <a:gd name="T16" fmla="*/ 0 w 61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32">
                  <a:moveTo>
                    <a:pt x="0" y="0"/>
                  </a:moveTo>
                  <a:cubicBezTo>
                    <a:pt x="0" y="0"/>
                    <a:pt x="3" y="2"/>
                    <a:pt x="9" y="5"/>
                  </a:cubicBezTo>
                  <a:cubicBezTo>
                    <a:pt x="15" y="7"/>
                    <a:pt x="22" y="11"/>
                    <a:pt x="31" y="15"/>
                  </a:cubicBezTo>
                  <a:cubicBezTo>
                    <a:pt x="39" y="20"/>
                    <a:pt x="47" y="24"/>
                    <a:pt x="52" y="27"/>
                  </a:cubicBezTo>
                  <a:cubicBezTo>
                    <a:pt x="58" y="30"/>
                    <a:pt x="61" y="32"/>
                    <a:pt x="61" y="32"/>
                  </a:cubicBezTo>
                  <a:cubicBezTo>
                    <a:pt x="61" y="32"/>
                    <a:pt x="58" y="30"/>
                    <a:pt x="53" y="26"/>
                  </a:cubicBezTo>
                  <a:cubicBezTo>
                    <a:pt x="48" y="23"/>
                    <a:pt x="40" y="18"/>
                    <a:pt x="32" y="14"/>
                  </a:cubicBezTo>
                  <a:cubicBezTo>
                    <a:pt x="23" y="9"/>
                    <a:pt x="15" y="6"/>
                    <a:pt x="10" y="3"/>
                  </a:cubicBezTo>
                  <a:cubicBezTo>
                    <a:pt x="4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0" name="Freeform 51">
              <a:extLst>
                <a:ext uri="{FF2B5EF4-FFF2-40B4-BE49-F238E27FC236}">
                  <a16:creationId xmlns:a16="http://schemas.microsoft.com/office/drawing/2014/main" id="{132D0BD0-1FC8-44A9-9420-51D516534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725" y="2311401"/>
              <a:ext cx="398463" cy="190500"/>
            </a:xfrm>
            <a:custGeom>
              <a:avLst/>
              <a:gdLst>
                <a:gd name="T0" fmla="*/ 0 w 62"/>
                <a:gd name="T1" fmla="*/ 0 h 30"/>
                <a:gd name="T2" fmla="*/ 10 w 62"/>
                <a:gd name="T3" fmla="*/ 4 h 30"/>
                <a:gd name="T4" fmla="*/ 32 w 62"/>
                <a:gd name="T5" fmla="*/ 14 h 30"/>
                <a:gd name="T6" fmla="*/ 53 w 62"/>
                <a:gd name="T7" fmla="*/ 25 h 30"/>
                <a:gd name="T8" fmla="*/ 61 w 62"/>
                <a:gd name="T9" fmla="*/ 30 h 30"/>
                <a:gd name="T10" fmla="*/ 53 w 62"/>
                <a:gd name="T11" fmla="*/ 24 h 30"/>
                <a:gd name="T12" fmla="*/ 32 w 62"/>
                <a:gd name="T13" fmla="*/ 12 h 30"/>
                <a:gd name="T14" fmla="*/ 10 w 62"/>
                <a:gd name="T15" fmla="*/ 3 h 30"/>
                <a:gd name="T16" fmla="*/ 0 w 62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30">
                  <a:moveTo>
                    <a:pt x="0" y="0"/>
                  </a:moveTo>
                  <a:cubicBezTo>
                    <a:pt x="0" y="0"/>
                    <a:pt x="4" y="2"/>
                    <a:pt x="10" y="4"/>
                  </a:cubicBezTo>
                  <a:cubicBezTo>
                    <a:pt x="15" y="6"/>
                    <a:pt x="23" y="10"/>
                    <a:pt x="32" y="14"/>
                  </a:cubicBezTo>
                  <a:cubicBezTo>
                    <a:pt x="40" y="18"/>
                    <a:pt x="47" y="22"/>
                    <a:pt x="53" y="25"/>
                  </a:cubicBezTo>
                  <a:cubicBezTo>
                    <a:pt x="58" y="28"/>
                    <a:pt x="61" y="30"/>
                    <a:pt x="61" y="30"/>
                  </a:cubicBezTo>
                  <a:cubicBezTo>
                    <a:pt x="62" y="29"/>
                    <a:pt x="59" y="27"/>
                    <a:pt x="53" y="24"/>
                  </a:cubicBezTo>
                  <a:cubicBezTo>
                    <a:pt x="48" y="20"/>
                    <a:pt x="41" y="16"/>
                    <a:pt x="32" y="12"/>
                  </a:cubicBezTo>
                  <a:cubicBezTo>
                    <a:pt x="24" y="8"/>
                    <a:pt x="16" y="5"/>
                    <a:pt x="10" y="3"/>
                  </a:cubicBezTo>
                  <a:cubicBezTo>
                    <a:pt x="4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1" name="Freeform 52">
              <a:extLst>
                <a:ext uri="{FF2B5EF4-FFF2-40B4-BE49-F238E27FC236}">
                  <a16:creationId xmlns:a16="http://schemas.microsoft.com/office/drawing/2014/main" id="{BB86F6B9-B779-4F69-953E-4498149C09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9913" y="1787526"/>
              <a:ext cx="19050" cy="139700"/>
            </a:xfrm>
            <a:custGeom>
              <a:avLst/>
              <a:gdLst>
                <a:gd name="T0" fmla="*/ 2 w 3"/>
                <a:gd name="T1" fmla="*/ 21 h 22"/>
                <a:gd name="T2" fmla="*/ 3 w 3"/>
                <a:gd name="T3" fmla="*/ 11 h 22"/>
                <a:gd name="T4" fmla="*/ 0 w 3"/>
                <a:gd name="T5" fmla="*/ 1 h 22"/>
                <a:gd name="T6" fmla="*/ 1 w 3"/>
                <a:gd name="T7" fmla="*/ 11 h 22"/>
                <a:gd name="T8" fmla="*/ 2 w 3"/>
                <a:gd name="T9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2">
                  <a:moveTo>
                    <a:pt x="2" y="21"/>
                  </a:moveTo>
                  <a:cubicBezTo>
                    <a:pt x="2" y="22"/>
                    <a:pt x="3" y="17"/>
                    <a:pt x="3" y="11"/>
                  </a:cubicBezTo>
                  <a:cubicBezTo>
                    <a:pt x="2" y="5"/>
                    <a:pt x="1" y="0"/>
                    <a:pt x="0" y="1"/>
                  </a:cubicBezTo>
                  <a:cubicBezTo>
                    <a:pt x="0" y="1"/>
                    <a:pt x="0" y="5"/>
                    <a:pt x="1" y="11"/>
                  </a:cubicBezTo>
                  <a:cubicBezTo>
                    <a:pt x="1" y="17"/>
                    <a:pt x="1" y="21"/>
                    <a:pt x="2" y="2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2" name="Freeform 53">
              <a:extLst>
                <a:ext uri="{FF2B5EF4-FFF2-40B4-BE49-F238E27FC236}">
                  <a16:creationId xmlns:a16="http://schemas.microsoft.com/office/drawing/2014/main" id="{121205E1-A665-4BB9-BAE2-3C8679B1DE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1812926"/>
              <a:ext cx="160338" cy="523875"/>
            </a:xfrm>
            <a:custGeom>
              <a:avLst/>
              <a:gdLst>
                <a:gd name="T0" fmla="*/ 0 w 25"/>
                <a:gd name="T1" fmla="*/ 82 h 82"/>
                <a:gd name="T2" fmla="*/ 6 w 25"/>
                <a:gd name="T3" fmla="*/ 71 h 82"/>
                <a:gd name="T4" fmla="*/ 17 w 25"/>
                <a:gd name="T5" fmla="*/ 42 h 82"/>
                <a:gd name="T6" fmla="*/ 23 w 25"/>
                <a:gd name="T7" fmla="*/ 12 h 82"/>
                <a:gd name="T8" fmla="*/ 24 w 25"/>
                <a:gd name="T9" fmla="*/ 0 h 82"/>
                <a:gd name="T10" fmla="*/ 22 w 25"/>
                <a:gd name="T11" fmla="*/ 12 h 82"/>
                <a:gd name="T12" fmla="*/ 15 w 25"/>
                <a:gd name="T13" fmla="*/ 42 h 82"/>
                <a:gd name="T14" fmla="*/ 4 w 25"/>
                <a:gd name="T15" fmla="*/ 70 h 82"/>
                <a:gd name="T16" fmla="*/ 0 w 25"/>
                <a:gd name="T1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82">
                  <a:moveTo>
                    <a:pt x="0" y="82"/>
                  </a:moveTo>
                  <a:cubicBezTo>
                    <a:pt x="0" y="82"/>
                    <a:pt x="3" y="78"/>
                    <a:pt x="6" y="71"/>
                  </a:cubicBezTo>
                  <a:cubicBezTo>
                    <a:pt x="9" y="64"/>
                    <a:pt x="13" y="54"/>
                    <a:pt x="17" y="42"/>
                  </a:cubicBezTo>
                  <a:cubicBezTo>
                    <a:pt x="20" y="31"/>
                    <a:pt x="22" y="20"/>
                    <a:pt x="23" y="12"/>
                  </a:cubicBezTo>
                  <a:cubicBezTo>
                    <a:pt x="24" y="5"/>
                    <a:pt x="25" y="0"/>
                    <a:pt x="24" y="0"/>
                  </a:cubicBezTo>
                  <a:cubicBezTo>
                    <a:pt x="24" y="0"/>
                    <a:pt x="23" y="4"/>
                    <a:pt x="22" y="12"/>
                  </a:cubicBezTo>
                  <a:cubicBezTo>
                    <a:pt x="20" y="20"/>
                    <a:pt x="18" y="30"/>
                    <a:pt x="15" y="42"/>
                  </a:cubicBezTo>
                  <a:cubicBezTo>
                    <a:pt x="11" y="53"/>
                    <a:pt x="7" y="63"/>
                    <a:pt x="4" y="70"/>
                  </a:cubicBezTo>
                  <a:cubicBezTo>
                    <a:pt x="2" y="77"/>
                    <a:pt x="0" y="82"/>
                    <a:pt x="0" y="82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036" name="Straight Connector 1035">
            <a:extLst>
              <a:ext uri="{FF2B5EF4-FFF2-40B4-BE49-F238E27FC236}">
                <a16:creationId xmlns:a16="http://schemas.microsoft.com/office/drawing/2014/main" id="{FBB2F154-5A32-4E37-B633-EC7A0DF2D43D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0" y="3317316"/>
            <a:ext cx="2552700" cy="1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096FF7C8-74B6-4D06-A07E-0EE7B4913523}"/>
              </a:ext>
            </a:extLst>
          </p:cNvPr>
          <p:cNvSpPr txBox="1"/>
          <p:nvPr/>
        </p:nvSpPr>
        <p:spPr>
          <a:xfrm>
            <a:off x="4275723" y="2270459"/>
            <a:ext cx="3635542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당신이 원하는 강의를 검색하세요</a:t>
            </a:r>
            <a:endParaRPr lang="ko-KR">
              <a:solidFill>
                <a:schemeClr val="tx1">
                  <a:lumMod val="75000"/>
                  <a:lumOff val="25000"/>
                </a:schemeClr>
              </a:solidFill>
              <a:ea typeface="바탕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0EC4DBF-5D20-4BC9-A497-C6DCF04DED58}"/>
              </a:ext>
            </a:extLst>
          </p:cNvPr>
          <p:cNvSpPr/>
          <p:nvPr/>
        </p:nvSpPr>
        <p:spPr>
          <a:xfrm>
            <a:off x="3778918" y="2224837"/>
            <a:ext cx="4632156" cy="43113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B9AA371D-B986-4016-8EE1-F9FF9FF346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2768" y="2227847"/>
            <a:ext cx="387017" cy="417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8024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7D59AF8-7D97-4E8C-A419-AE013020B7BE}"/>
              </a:ext>
            </a:extLst>
          </p:cNvPr>
          <p:cNvSpPr/>
          <p:nvPr/>
        </p:nvSpPr>
        <p:spPr>
          <a:xfrm>
            <a:off x="1379543" y="1492190"/>
            <a:ext cx="9425577" cy="462457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altLang="ko-KR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altLang="ko-KR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altLang="ko-KR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ko-KR" alt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9/4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10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7043C3E-8F3A-455C-8C41-3801A8F28C28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그림 6" descr="텍스트, 지도이(가) 표시된 사진&#10;&#10;매우 높은 신뢰도로 생성된 설명">
            <a:extLst>
              <a:ext uri="{FF2B5EF4-FFF2-40B4-BE49-F238E27FC236}">
                <a16:creationId xmlns:a16="http://schemas.microsoft.com/office/drawing/2014/main" id="{FEA556EC-0F95-4F15-8FB1-56C5E4BCE6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0139" y="1496275"/>
            <a:ext cx="6641547" cy="4616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5195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049D67A5-E704-40B4-82D7-E0DE64092D8B}"/>
              </a:ext>
            </a:extLst>
          </p:cNvPr>
          <p:cNvCxnSpPr>
            <a:cxnSpLocks/>
          </p:cNvCxnSpPr>
          <p:nvPr/>
        </p:nvCxnSpPr>
        <p:spPr>
          <a:xfrm>
            <a:off x="2836069" y="2805904"/>
            <a:ext cx="0" cy="3623008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8F5E6090-95C5-4CDF-947C-85C339E2708E}"/>
              </a:ext>
            </a:extLst>
          </p:cNvPr>
          <p:cNvCxnSpPr>
            <a:cxnSpLocks/>
          </p:cNvCxnSpPr>
          <p:nvPr/>
        </p:nvCxnSpPr>
        <p:spPr>
          <a:xfrm>
            <a:off x="9202780" y="2805904"/>
            <a:ext cx="0" cy="1848351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A60F158-60E7-49DA-8B7F-B0FF8A2139EB}"/>
              </a:ext>
            </a:extLst>
          </p:cNvPr>
          <p:cNvCxnSpPr>
            <a:cxnSpLocks/>
          </p:cNvCxnSpPr>
          <p:nvPr/>
        </p:nvCxnSpPr>
        <p:spPr>
          <a:xfrm>
            <a:off x="6767913" y="1382128"/>
            <a:ext cx="2482390" cy="10026"/>
          </a:xfrm>
          <a:prstGeom prst="line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9/4/2019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11</a:t>
            </a:fld>
            <a:endParaRPr lang="en-US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42121974-F50C-417B-BF7F-C5A2E6127C52}"/>
              </a:ext>
            </a:extLst>
          </p:cNvPr>
          <p:cNvSpPr/>
          <p:nvPr/>
        </p:nvSpPr>
        <p:spPr>
          <a:xfrm>
            <a:off x="212645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solidFill>
                  <a:prstClr val="white"/>
                </a:solidFill>
                <a:latin typeface="맑은 고딕"/>
                <a:ea typeface="맑은 고딕"/>
              </a:rPr>
              <a:t>강의</a:t>
            </a:r>
            <a:endParaRPr lang="en-US" sz="1400">
              <a:solidFill>
                <a:prstClr val="white"/>
              </a:solidFill>
              <a:latin typeface="맑은 고딕"/>
              <a:ea typeface="맑은 고딕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929685B-1D4E-4B07-96C2-023D2EFA61DE}"/>
              </a:ext>
            </a:extLst>
          </p:cNvPr>
          <p:cNvSpPr/>
          <p:nvPr/>
        </p:nvSpPr>
        <p:spPr>
          <a:xfrm>
            <a:off x="538638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err="1">
                <a:latin typeface="맑은 고딕"/>
                <a:ea typeface="맑은 고딕"/>
              </a:rPr>
              <a:t>채용</a:t>
            </a:r>
            <a:r>
              <a:rPr lang="en-US" altLang="ko-KR" sz="1400">
                <a:latin typeface="맑은 고딕"/>
                <a:ea typeface="맑은 고딕"/>
              </a:rPr>
              <a:t> </a:t>
            </a:r>
            <a:r>
              <a:rPr lang="en-US" altLang="ko-KR" sz="1400" err="1">
                <a:latin typeface="맑은 고딕"/>
                <a:ea typeface="맑은 고딕"/>
              </a:rPr>
              <a:t>테스트</a:t>
            </a:r>
            <a:endParaRPr lang="en-US" sz="1400" err="1">
              <a:latin typeface="맑은 고딕"/>
              <a:ea typeface="맑은 고딕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93E1D3EB-19C6-463C-BA3C-70912EBA3AA7}"/>
              </a:ext>
            </a:extLst>
          </p:cNvPr>
          <p:cNvSpPr/>
          <p:nvPr/>
        </p:nvSpPr>
        <p:spPr>
          <a:xfrm>
            <a:off x="5386388" y="1179113"/>
            <a:ext cx="1419225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WWW</a:t>
            </a:r>
            <a:endParaRPr lang="ko-KR" altLang="en-US" sz="1400">
              <a:solidFill>
                <a:prstClr val="white"/>
              </a:solidFill>
              <a:latin typeface="맑은 고딕"/>
              <a:ea typeface="맑은 고딕"/>
            </a:endParaRPr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BC3B028D-85D5-4E3C-98E6-C2DDA408C863}"/>
              </a:ext>
            </a:extLst>
          </p:cNvPr>
          <p:cNvCxnSpPr>
            <a:stCxn id="93" idx="2"/>
            <a:endCxn id="92" idx="0"/>
          </p:cNvCxnSpPr>
          <p:nvPr/>
        </p:nvCxnSpPr>
        <p:spPr>
          <a:xfrm>
            <a:off x="6096001" y="1598213"/>
            <a:ext cx="0" cy="78859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9711ED3C-D7AD-42D4-9687-292E16267E75}"/>
              </a:ext>
            </a:extLst>
          </p:cNvPr>
          <p:cNvCxnSpPr>
            <a:cxnSpLocks/>
            <a:stCxn id="92" idx="2"/>
          </p:cNvCxnSpPr>
          <p:nvPr/>
        </p:nvCxnSpPr>
        <p:spPr>
          <a:xfrm>
            <a:off x="6096000" y="2805904"/>
            <a:ext cx="0" cy="420117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88B1C63E-DD29-46F4-9946-C576A6863C0C}"/>
              </a:ext>
            </a:extLst>
          </p:cNvPr>
          <p:cNvSpPr/>
          <p:nvPr/>
        </p:nvSpPr>
        <p:spPr>
          <a:xfrm>
            <a:off x="849316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고객센터</a:t>
            </a:r>
            <a:endParaRPr lang="ko-KR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0BE0498-34EB-4087-A183-7CA78F38DDB1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7B48157D-FC34-4A86-AE19-1B1AF8FD2760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 panose="020B0A02040204020203" pitchFamily="34" charset="0"/>
                <a:cs typeface="Segoe UI" panose="020B0502040204020203" pitchFamily="34" charset="0"/>
              </a:rPr>
              <a:t>Menu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509D16D-F849-458C-B627-5F42CE3E7332}"/>
              </a:ext>
            </a:extLst>
          </p:cNvPr>
          <p:cNvSpPr/>
          <p:nvPr/>
        </p:nvSpPr>
        <p:spPr>
          <a:xfrm>
            <a:off x="2127835" y="3109661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HTML/CS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9686B07-12DC-4675-BC68-321B504EBEB8}"/>
              </a:ext>
            </a:extLst>
          </p:cNvPr>
          <p:cNvSpPr/>
          <p:nvPr/>
        </p:nvSpPr>
        <p:spPr>
          <a:xfrm>
            <a:off x="2127835" y="3731293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err="1">
                <a:latin typeface="맑은 고딕"/>
                <a:ea typeface="맑은 고딕"/>
              </a:rPr>
              <a:t>Java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CEE3ED9-043A-4D1B-9BE7-65CD9165EFCD}"/>
              </a:ext>
            </a:extLst>
          </p:cNvPr>
          <p:cNvSpPr/>
          <p:nvPr/>
        </p:nvSpPr>
        <p:spPr>
          <a:xfrm>
            <a:off x="8494545" y="31096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sz="1400">
                <a:latin typeface="Malgun Gothic"/>
                <a:ea typeface="Malgun Gothic"/>
              </a:rPr>
              <a:t>공지사항</a:t>
            </a:r>
            <a:endParaRPr lang="ko-KR" sz="1400">
              <a:ea typeface="+mn-lt"/>
              <a:cs typeface="+mn-l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981FAD1-5FAB-4958-9C3D-1015AD3782A6}"/>
              </a:ext>
            </a:extLst>
          </p:cNvPr>
          <p:cNvSpPr/>
          <p:nvPr/>
        </p:nvSpPr>
        <p:spPr>
          <a:xfrm>
            <a:off x="8494544" y="3731293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FAQ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C0BC20B-8561-4B25-8F39-B937A4CDAE65}"/>
              </a:ext>
            </a:extLst>
          </p:cNvPr>
          <p:cNvSpPr/>
          <p:nvPr/>
        </p:nvSpPr>
        <p:spPr>
          <a:xfrm>
            <a:off x="8494544" y="4342898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sz="1400">
                <a:latin typeface="Malgun Gothic"/>
                <a:ea typeface="Malgun Gothic"/>
              </a:rPr>
              <a:t>Q&amp;A</a:t>
            </a:r>
            <a:endParaRPr lang="en-US" altLang="ko-KR" sz="1400">
              <a:latin typeface="Malgun Gothic"/>
              <a:ea typeface="Malgun Gothic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0C5A510-07CC-4E1A-93F0-C14710E70409}"/>
              </a:ext>
            </a:extLst>
          </p:cNvPr>
          <p:cNvSpPr/>
          <p:nvPr/>
        </p:nvSpPr>
        <p:spPr>
          <a:xfrm>
            <a:off x="5386387" y="31096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응시자 로그인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BF22D109-F133-4912-83E3-15FE331E621B}"/>
              </a:ext>
            </a:extLst>
          </p:cNvPr>
          <p:cNvCxnSpPr>
            <a:cxnSpLocks/>
          </p:cNvCxnSpPr>
          <p:nvPr/>
        </p:nvCxnSpPr>
        <p:spPr>
          <a:xfrm>
            <a:off x="2837448" y="1946727"/>
            <a:ext cx="0" cy="44769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E13CC869-9621-4874-AF11-159DEFFD6588}"/>
              </a:ext>
            </a:extLst>
          </p:cNvPr>
          <p:cNvCxnSpPr>
            <a:cxnSpLocks/>
          </p:cNvCxnSpPr>
          <p:nvPr/>
        </p:nvCxnSpPr>
        <p:spPr>
          <a:xfrm>
            <a:off x="9204158" y="1945122"/>
            <a:ext cx="0" cy="43767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70FDFC35-92A5-4A20-9545-74FD5A74172E}"/>
              </a:ext>
            </a:extLst>
          </p:cNvPr>
          <p:cNvSpPr/>
          <p:nvPr/>
        </p:nvSpPr>
        <p:spPr>
          <a:xfrm>
            <a:off x="7371598" y="1183645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err="1">
                <a:latin typeface="맑은 고딕"/>
                <a:ea typeface="맑은 고딕"/>
              </a:rPr>
              <a:t>로그인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4D5E0C7-1B5B-4BF8-A564-E5EB4DBD2E22}"/>
              </a:ext>
            </a:extLst>
          </p:cNvPr>
          <p:cNvSpPr/>
          <p:nvPr/>
        </p:nvSpPr>
        <p:spPr>
          <a:xfrm>
            <a:off x="9076071" y="1183644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err="1">
                <a:latin typeface="맑은 고딕"/>
                <a:ea typeface="맑은 고딕"/>
              </a:rPr>
              <a:t>회원가입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01EC397-7D0C-456C-BF57-9906B5342863}"/>
              </a:ext>
            </a:extLst>
          </p:cNvPr>
          <p:cNvCxnSpPr/>
          <p:nvPr/>
        </p:nvCxnSpPr>
        <p:spPr>
          <a:xfrm>
            <a:off x="2820166" y="1921544"/>
            <a:ext cx="6402806" cy="20187"/>
          </a:xfrm>
          <a:prstGeom prst="straightConnector1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AE09A0B2-F578-40C7-BAF1-87F4CB004A68}"/>
              </a:ext>
            </a:extLst>
          </p:cNvPr>
          <p:cNvSpPr/>
          <p:nvPr/>
        </p:nvSpPr>
        <p:spPr>
          <a:xfrm>
            <a:off x="2127835" y="4342898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err="1">
                <a:latin typeface="맑은 고딕"/>
                <a:ea typeface="맑은 고딕"/>
              </a:rPr>
              <a:t>JavaScript</a:t>
            </a:r>
            <a:endParaRPr lang="ko-KR" err="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CF65FE7-8184-4362-8D0D-615AC48B6AA0}"/>
              </a:ext>
            </a:extLst>
          </p:cNvPr>
          <p:cNvSpPr/>
          <p:nvPr/>
        </p:nvSpPr>
        <p:spPr>
          <a:xfrm>
            <a:off x="2127835" y="4964530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C++​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66636EF-5700-4B43-B887-CAB0E7FD7919}"/>
              </a:ext>
            </a:extLst>
          </p:cNvPr>
          <p:cNvSpPr/>
          <p:nvPr/>
        </p:nvSpPr>
        <p:spPr>
          <a:xfrm>
            <a:off x="2127835" y="55861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C#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1222B27-B1FF-4758-A73D-899D6EBD2E9E}"/>
              </a:ext>
            </a:extLst>
          </p:cNvPr>
          <p:cNvSpPr/>
          <p:nvPr/>
        </p:nvSpPr>
        <p:spPr>
          <a:xfrm>
            <a:off x="2127834" y="620779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SQL</a:t>
            </a:r>
          </a:p>
        </p:txBody>
      </p:sp>
    </p:spTree>
    <p:extLst>
      <p:ext uri="{BB962C8B-B14F-4D97-AF65-F5344CB8AC3E}">
        <p14:creationId xmlns:p14="http://schemas.microsoft.com/office/powerpoint/2010/main" val="35601697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049D67A5-E704-40B4-82D7-E0DE64092D8B}"/>
              </a:ext>
            </a:extLst>
          </p:cNvPr>
          <p:cNvCxnSpPr>
            <a:cxnSpLocks/>
          </p:cNvCxnSpPr>
          <p:nvPr/>
        </p:nvCxnSpPr>
        <p:spPr>
          <a:xfrm>
            <a:off x="2851309" y="2805904"/>
            <a:ext cx="15240" cy="2077753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8F5E6090-95C5-4CDF-947C-85C339E2708E}"/>
              </a:ext>
            </a:extLst>
          </p:cNvPr>
          <p:cNvCxnSpPr>
            <a:cxnSpLocks/>
          </p:cNvCxnSpPr>
          <p:nvPr/>
        </p:nvCxnSpPr>
        <p:spPr>
          <a:xfrm>
            <a:off x="9195160" y="2805904"/>
            <a:ext cx="15240" cy="2732271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9/4/2019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12</a:t>
            </a:fld>
            <a:endParaRPr lang="en-US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42121974-F50C-417B-BF7F-C5A2E6127C52}"/>
              </a:ext>
            </a:extLst>
          </p:cNvPr>
          <p:cNvSpPr/>
          <p:nvPr/>
        </p:nvSpPr>
        <p:spPr>
          <a:xfrm>
            <a:off x="212645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일반 회원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929685B-1D4E-4B07-96C2-023D2EFA61DE}"/>
              </a:ext>
            </a:extLst>
          </p:cNvPr>
          <p:cNvSpPr/>
          <p:nvPr/>
        </p:nvSpPr>
        <p:spPr>
          <a:xfrm>
            <a:off x="538638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err="1">
                <a:latin typeface="맑은 고딕"/>
                <a:ea typeface="맑은 고딕"/>
              </a:rPr>
              <a:t>강사</a:t>
            </a:r>
            <a:r>
              <a:rPr lang="en-US" altLang="ko-KR" sz="1400">
                <a:latin typeface="맑은 고딕"/>
                <a:ea typeface="맑은 고딕"/>
              </a:rPr>
              <a:t> 회원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93E1D3EB-19C6-463C-BA3C-70912EBA3AA7}"/>
              </a:ext>
            </a:extLst>
          </p:cNvPr>
          <p:cNvSpPr/>
          <p:nvPr/>
        </p:nvSpPr>
        <p:spPr>
          <a:xfrm>
            <a:off x="5386388" y="1179113"/>
            <a:ext cx="1419225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마이페이지</a:t>
            </a:r>
            <a:endParaRPr lang="ko-KR" altLang="en-US" sz="1400">
              <a:solidFill>
                <a:prstClr val="white"/>
              </a:solidFill>
              <a:latin typeface="맑은 고딕"/>
              <a:ea typeface="맑은 고딕"/>
            </a:endParaRPr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BC3B028D-85D5-4E3C-98E6-C2DDA408C863}"/>
              </a:ext>
            </a:extLst>
          </p:cNvPr>
          <p:cNvCxnSpPr>
            <a:stCxn id="93" idx="2"/>
            <a:endCxn id="92" idx="0"/>
          </p:cNvCxnSpPr>
          <p:nvPr/>
        </p:nvCxnSpPr>
        <p:spPr>
          <a:xfrm>
            <a:off x="6096001" y="1598213"/>
            <a:ext cx="0" cy="78859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9711ED3C-D7AD-42D4-9687-292E16267E75}"/>
              </a:ext>
            </a:extLst>
          </p:cNvPr>
          <p:cNvCxnSpPr>
            <a:cxnSpLocks/>
            <a:stCxn id="92" idx="2"/>
          </p:cNvCxnSpPr>
          <p:nvPr/>
        </p:nvCxnSpPr>
        <p:spPr>
          <a:xfrm>
            <a:off x="6098406" y="2805904"/>
            <a:ext cx="2808" cy="3533889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88B1C63E-DD29-46F4-9946-C576A6863C0C}"/>
              </a:ext>
            </a:extLst>
          </p:cNvPr>
          <p:cNvSpPr/>
          <p:nvPr/>
        </p:nvSpPr>
        <p:spPr>
          <a:xfrm>
            <a:off x="849316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기업 회원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0BE0498-34EB-4087-A183-7CA78F38DDB1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7B48157D-FC34-4A86-AE19-1B1AF8FD2760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 panose="020B0A02040204020203" pitchFamily="34" charset="0"/>
                <a:cs typeface="Segoe UI" panose="020B0502040204020203" pitchFamily="34" charset="0"/>
              </a:rPr>
              <a:t>Menu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509D16D-F849-458C-B627-5F42CE3E7332}"/>
              </a:ext>
            </a:extLst>
          </p:cNvPr>
          <p:cNvSpPr/>
          <p:nvPr/>
        </p:nvSpPr>
        <p:spPr>
          <a:xfrm>
            <a:off x="2127835" y="3109661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마이페이지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9686B07-12DC-4675-BC68-321B504EBEB8}"/>
              </a:ext>
            </a:extLst>
          </p:cNvPr>
          <p:cNvSpPr/>
          <p:nvPr/>
        </p:nvSpPr>
        <p:spPr>
          <a:xfrm>
            <a:off x="2127835" y="3831556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계정관리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CEE3ED9-043A-4D1B-9BE7-65CD9165EFCD}"/>
              </a:ext>
            </a:extLst>
          </p:cNvPr>
          <p:cNvSpPr/>
          <p:nvPr/>
        </p:nvSpPr>
        <p:spPr>
          <a:xfrm>
            <a:off x="8494545" y="31096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Malgun Gothic"/>
                <a:ea typeface="Malgun Gothic"/>
              </a:rPr>
              <a:t>마이페이지</a:t>
            </a:r>
            <a:endParaRPr lang="ko-KR" sz="1400">
              <a:latin typeface="Malgun Gothic"/>
              <a:ea typeface="Malgun Gothic"/>
              <a:cs typeface="+mn-l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981FAD1-5FAB-4958-9C3D-1015AD3782A6}"/>
              </a:ext>
            </a:extLst>
          </p:cNvPr>
          <p:cNvSpPr/>
          <p:nvPr/>
        </p:nvSpPr>
        <p:spPr>
          <a:xfrm>
            <a:off x="8494544" y="3831556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채용테스트 관리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C0BC20B-8561-4B25-8F39-B937A4CDAE65}"/>
              </a:ext>
            </a:extLst>
          </p:cNvPr>
          <p:cNvSpPr/>
          <p:nvPr/>
        </p:nvSpPr>
        <p:spPr>
          <a:xfrm>
            <a:off x="8494544" y="4553451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sz="1400">
                <a:latin typeface="Malgun Gothic"/>
                <a:ea typeface="Malgun Gothic"/>
              </a:rPr>
              <a:t>계정관리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0C5A510-07CC-4E1A-93F0-C14710E70409}"/>
              </a:ext>
            </a:extLst>
          </p:cNvPr>
          <p:cNvSpPr/>
          <p:nvPr/>
        </p:nvSpPr>
        <p:spPr>
          <a:xfrm>
            <a:off x="5386387" y="3831557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강의관리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BF22D109-F133-4912-83E3-15FE331E621B}"/>
              </a:ext>
            </a:extLst>
          </p:cNvPr>
          <p:cNvCxnSpPr>
            <a:cxnSpLocks/>
          </p:cNvCxnSpPr>
          <p:nvPr/>
        </p:nvCxnSpPr>
        <p:spPr>
          <a:xfrm>
            <a:off x="2837448" y="1946727"/>
            <a:ext cx="0" cy="44769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E13CC869-9621-4874-AF11-159DEFFD6588}"/>
              </a:ext>
            </a:extLst>
          </p:cNvPr>
          <p:cNvCxnSpPr>
            <a:cxnSpLocks/>
          </p:cNvCxnSpPr>
          <p:nvPr/>
        </p:nvCxnSpPr>
        <p:spPr>
          <a:xfrm>
            <a:off x="9204158" y="1945122"/>
            <a:ext cx="0" cy="43767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5F7AFD3E-AD69-4B87-B18E-6E7ECC8BFC14}"/>
              </a:ext>
            </a:extLst>
          </p:cNvPr>
          <p:cNvSpPr/>
          <p:nvPr/>
        </p:nvSpPr>
        <p:spPr>
          <a:xfrm>
            <a:off x="7371598" y="732460"/>
            <a:ext cx="1419225" cy="419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ko-KR" sz="1400" b="1">
              <a:solidFill>
                <a:schemeClr val="tx2">
                  <a:lumMod val="75000"/>
                </a:schemeClr>
              </a:solidFill>
              <a:latin typeface="맑은 고딕"/>
              <a:ea typeface="맑은 고딕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01EC397-7D0C-456C-BF57-9906B5342863}"/>
              </a:ext>
            </a:extLst>
          </p:cNvPr>
          <p:cNvCxnSpPr/>
          <p:nvPr/>
        </p:nvCxnSpPr>
        <p:spPr>
          <a:xfrm>
            <a:off x="2820166" y="1921544"/>
            <a:ext cx="6402806" cy="20187"/>
          </a:xfrm>
          <a:prstGeom prst="straightConnector1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AE09A0B2-F578-40C7-BAF1-87F4CB004A68}"/>
              </a:ext>
            </a:extLst>
          </p:cNvPr>
          <p:cNvSpPr/>
          <p:nvPr/>
        </p:nvSpPr>
        <p:spPr>
          <a:xfrm>
            <a:off x="2127835" y="4553451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로그아웃</a:t>
            </a:r>
            <a:endParaRPr lang="ko-KR" err="1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9799D764-99C2-4223-B83F-942204AF5D1D}"/>
              </a:ext>
            </a:extLst>
          </p:cNvPr>
          <p:cNvSpPr/>
          <p:nvPr/>
        </p:nvSpPr>
        <p:spPr>
          <a:xfrm>
            <a:off x="5386387" y="31096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마이페이지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FB753DC-4491-4104-9646-E212A1C5E6CE}"/>
              </a:ext>
            </a:extLst>
          </p:cNvPr>
          <p:cNvSpPr/>
          <p:nvPr/>
        </p:nvSpPr>
        <p:spPr>
          <a:xfrm>
            <a:off x="5376359" y="4553450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문제관리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77F7876-59C5-44A9-BDCB-4220C54B07AD}"/>
              </a:ext>
            </a:extLst>
          </p:cNvPr>
          <p:cNvSpPr/>
          <p:nvPr/>
        </p:nvSpPr>
        <p:spPr>
          <a:xfrm>
            <a:off x="5376362" y="5275345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계정관리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0F66A46-E610-459F-AD21-ADC3F4314F68}"/>
              </a:ext>
            </a:extLst>
          </p:cNvPr>
          <p:cNvSpPr/>
          <p:nvPr/>
        </p:nvSpPr>
        <p:spPr>
          <a:xfrm>
            <a:off x="5376361" y="5997240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로그아웃</a:t>
            </a:r>
            <a:endParaRPr lang="ko-KR" err="1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840375F-D4C8-480A-83CE-89BD4852E0FF}"/>
              </a:ext>
            </a:extLst>
          </p:cNvPr>
          <p:cNvSpPr/>
          <p:nvPr/>
        </p:nvSpPr>
        <p:spPr>
          <a:xfrm>
            <a:off x="8490133" y="5275345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로그아웃</a:t>
            </a:r>
            <a:endParaRPr lang="ko-KR" err="1"/>
          </a:p>
        </p:txBody>
      </p:sp>
    </p:spTree>
    <p:extLst>
      <p:ext uri="{BB962C8B-B14F-4D97-AF65-F5344CB8AC3E}">
        <p14:creationId xmlns:p14="http://schemas.microsoft.com/office/powerpoint/2010/main" val="13273868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F1CE37C-460C-43F9-A82C-3959AC20EC3C}"/>
              </a:ext>
            </a:extLst>
          </p:cNvPr>
          <p:cNvCxnSpPr>
            <a:cxnSpLocks/>
          </p:cNvCxnSpPr>
          <p:nvPr/>
        </p:nvCxnSpPr>
        <p:spPr>
          <a:xfrm>
            <a:off x="4984107" y="2793070"/>
            <a:ext cx="5214" cy="2020403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B52CB195-4D1C-476C-9C4D-5AEB3FD828D1}"/>
              </a:ext>
            </a:extLst>
          </p:cNvPr>
          <p:cNvCxnSpPr/>
          <p:nvPr/>
        </p:nvCxnSpPr>
        <p:spPr>
          <a:xfrm flipH="1">
            <a:off x="6122035" y="1413145"/>
            <a:ext cx="10026" cy="598637"/>
          </a:xfrm>
          <a:prstGeom prst="straightConnector1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049D67A5-E704-40B4-82D7-E0DE64092D8B}"/>
              </a:ext>
            </a:extLst>
          </p:cNvPr>
          <p:cNvCxnSpPr>
            <a:cxnSpLocks/>
          </p:cNvCxnSpPr>
          <p:nvPr/>
        </p:nvCxnSpPr>
        <p:spPr>
          <a:xfrm flipH="1">
            <a:off x="2104550" y="2785851"/>
            <a:ext cx="4812" cy="623937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8F5E6090-95C5-4CDF-947C-85C339E2708E}"/>
              </a:ext>
            </a:extLst>
          </p:cNvPr>
          <p:cNvCxnSpPr>
            <a:cxnSpLocks/>
          </p:cNvCxnSpPr>
          <p:nvPr/>
        </p:nvCxnSpPr>
        <p:spPr>
          <a:xfrm>
            <a:off x="8082239" y="2805904"/>
            <a:ext cx="5214" cy="666850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9/4/2019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13</a:t>
            </a:fld>
            <a:endParaRPr lang="en-US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42121974-F50C-417B-BF7F-C5A2E6127C52}"/>
              </a:ext>
            </a:extLst>
          </p:cNvPr>
          <p:cNvSpPr/>
          <p:nvPr/>
        </p:nvSpPr>
        <p:spPr>
          <a:xfrm>
            <a:off x="1394537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카테고리 관리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929685B-1D4E-4B07-96C2-023D2EFA61DE}"/>
              </a:ext>
            </a:extLst>
          </p:cNvPr>
          <p:cNvSpPr/>
          <p:nvPr/>
        </p:nvSpPr>
        <p:spPr>
          <a:xfrm>
            <a:off x="4283493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err="1">
                <a:latin typeface="맑은 고딕"/>
                <a:ea typeface="맑은 고딕"/>
              </a:rPr>
              <a:t>회원</a:t>
            </a:r>
            <a:r>
              <a:rPr lang="en-US" altLang="ko-KR" sz="1400">
                <a:latin typeface="맑은 고딕"/>
                <a:ea typeface="맑은 고딕"/>
              </a:rPr>
              <a:t> </a:t>
            </a:r>
            <a:r>
              <a:rPr lang="en-US" altLang="ko-KR" sz="1400" err="1">
                <a:latin typeface="맑은 고딕"/>
                <a:ea typeface="맑은 고딕"/>
              </a:rPr>
              <a:t>관리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93E1D3EB-19C6-463C-BA3C-70912EBA3AA7}"/>
              </a:ext>
            </a:extLst>
          </p:cNvPr>
          <p:cNvSpPr/>
          <p:nvPr/>
        </p:nvSpPr>
        <p:spPr>
          <a:xfrm>
            <a:off x="5386388" y="1179113"/>
            <a:ext cx="1419225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관리자 모드</a:t>
            </a:r>
            <a:endParaRPr lang="ko-KR" altLang="en-US" sz="1400">
              <a:solidFill>
                <a:prstClr val="white"/>
              </a:solidFill>
              <a:latin typeface="맑은 고딕"/>
              <a:ea typeface="맑은 고딕"/>
            </a:endParaRPr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9711ED3C-D7AD-42D4-9687-292E16267E75}"/>
              </a:ext>
            </a:extLst>
          </p:cNvPr>
          <p:cNvCxnSpPr>
            <a:cxnSpLocks/>
            <a:stCxn id="92" idx="2"/>
          </p:cNvCxnSpPr>
          <p:nvPr/>
        </p:nvCxnSpPr>
        <p:spPr>
          <a:xfrm>
            <a:off x="14986234" y="7579510"/>
            <a:ext cx="2808" cy="3533889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88B1C63E-DD29-46F4-9946-C576A6863C0C}"/>
              </a:ext>
            </a:extLst>
          </p:cNvPr>
          <p:cNvSpPr/>
          <p:nvPr/>
        </p:nvSpPr>
        <p:spPr>
          <a:xfrm>
            <a:off x="7380247" y="2396829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결제 관리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0BE0498-34EB-4087-A183-7CA78F38DDB1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7B48157D-FC34-4A86-AE19-1B1AF8FD2760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 panose="020B0A02040204020203" pitchFamily="34" charset="0"/>
                <a:cs typeface="Segoe UI" panose="020B0502040204020203" pitchFamily="34" charset="0"/>
              </a:rPr>
              <a:t>Menu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509D16D-F849-458C-B627-5F42CE3E7332}"/>
              </a:ext>
            </a:extLst>
          </p:cNvPr>
          <p:cNvSpPr/>
          <p:nvPr/>
        </p:nvSpPr>
        <p:spPr>
          <a:xfrm>
            <a:off x="1395914" y="3099634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대분류 관리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CEE3ED9-043A-4D1B-9BE7-65CD9165EFCD}"/>
              </a:ext>
            </a:extLst>
          </p:cNvPr>
          <p:cNvSpPr/>
          <p:nvPr/>
        </p:nvSpPr>
        <p:spPr>
          <a:xfrm>
            <a:off x="7381624" y="31096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Malgun Gothic"/>
                <a:ea typeface="Malgun Gothic"/>
              </a:rPr>
              <a:t>강의결제 관리</a:t>
            </a:r>
            <a:endParaRPr lang="ko-KR" sz="1400">
              <a:latin typeface="Malgun Gothic"/>
              <a:ea typeface="Malgun Gothic"/>
              <a:cs typeface="+mn-l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0C5A510-07CC-4E1A-93F0-C14710E70409}"/>
              </a:ext>
            </a:extLst>
          </p:cNvPr>
          <p:cNvSpPr/>
          <p:nvPr/>
        </p:nvSpPr>
        <p:spPr>
          <a:xfrm>
            <a:off x="4273466" y="3841583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전체 회원 정보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BF22D109-F133-4912-83E3-15FE331E621B}"/>
              </a:ext>
            </a:extLst>
          </p:cNvPr>
          <p:cNvCxnSpPr>
            <a:cxnSpLocks/>
          </p:cNvCxnSpPr>
          <p:nvPr/>
        </p:nvCxnSpPr>
        <p:spPr>
          <a:xfrm>
            <a:off x="2105527" y="1936700"/>
            <a:ext cx="0" cy="44769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E13CC869-9621-4874-AF11-159DEFFD6588}"/>
              </a:ext>
            </a:extLst>
          </p:cNvPr>
          <p:cNvCxnSpPr>
            <a:cxnSpLocks/>
          </p:cNvCxnSpPr>
          <p:nvPr/>
        </p:nvCxnSpPr>
        <p:spPr>
          <a:xfrm>
            <a:off x="10327105" y="1955149"/>
            <a:ext cx="0" cy="457723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01EC397-7D0C-456C-BF57-9906B5342863}"/>
              </a:ext>
            </a:extLst>
          </p:cNvPr>
          <p:cNvCxnSpPr/>
          <p:nvPr/>
        </p:nvCxnSpPr>
        <p:spPr>
          <a:xfrm>
            <a:off x="1303118" y="1951488"/>
            <a:ext cx="9854263" cy="5482"/>
          </a:xfrm>
          <a:prstGeom prst="straightConnector1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9799D764-99C2-4223-B83F-942204AF5D1D}"/>
              </a:ext>
            </a:extLst>
          </p:cNvPr>
          <p:cNvSpPr/>
          <p:nvPr/>
        </p:nvSpPr>
        <p:spPr>
          <a:xfrm>
            <a:off x="4273466" y="3119688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승인 신청 관리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FB753DC-4491-4104-9646-E212A1C5E6CE}"/>
              </a:ext>
            </a:extLst>
          </p:cNvPr>
          <p:cNvSpPr/>
          <p:nvPr/>
        </p:nvSpPr>
        <p:spPr>
          <a:xfrm>
            <a:off x="4263438" y="4563476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회원 권한 관리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0DFD0AF-C7EE-4849-8C54-8D8ED6DEC742}"/>
              </a:ext>
            </a:extLst>
          </p:cNvPr>
          <p:cNvSpPr/>
          <p:nvPr/>
        </p:nvSpPr>
        <p:spPr>
          <a:xfrm>
            <a:off x="9616114" y="2406855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통계 관리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6FACA356-FC31-4953-B5D0-29229F6AAFE3}"/>
              </a:ext>
            </a:extLst>
          </p:cNvPr>
          <p:cNvCxnSpPr>
            <a:cxnSpLocks/>
          </p:cNvCxnSpPr>
          <p:nvPr/>
        </p:nvCxnSpPr>
        <p:spPr>
          <a:xfrm>
            <a:off x="4993106" y="1946726"/>
            <a:ext cx="0" cy="44769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EC79C06-EBBF-4334-8CCF-C759C80F6AA7}"/>
              </a:ext>
            </a:extLst>
          </p:cNvPr>
          <p:cNvCxnSpPr>
            <a:cxnSpLocks/>
          </p:cNvCxnSpPr>
          <p:nvPr/>
        </p:nvCxnSpPr>
        <p:spPr>
          <a:xfrm>
            <a:off x="8091237" y="1956752"/>
            <a:ext cx="0" cy="44769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71973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Oval 81">
            <a:extLst>
              <a:ext uri="{FF2B5EF4-FFF2-40B4-BE49-F238E27FC236}">
                <a16:creationId xmlns:a16="http://schemas.microsoft.com/office/drawing/2014/main" id="{692C792F-CC81-4227-AA4D-1B1F9CA91FB8}"/>
              </a:ext>
            </a:extLst>
          </p:cNvPr>
          <p:cNvSpPr/>
          <p:nvPr/>
        </p:nvSpPr>
        <p:spPr>
          <a:xfrm>
            <a:off x="6955970" y="2476045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0C757359-D767-4BCB-A1E0-F77640856F3C}"/>
              </a:ext>
            </a:extLst>
          </p:cNvPr>
          <p:cNvSpPr/>
          <p:nvPr/>
        </p:nvSpPr>
        <p:spPr>
          <a:xfrm>
            <a:off x="4413251" y="5221967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9FD3C3EE-7FBA-4B5A-B188-83E45DF333F1}"/>
              </a:ext>
            </a:extLst>
          </p:cNvPr>
          <p:cNvSpPr/>
          <p:nvPr/>
        </p:nvSpPr>
        <p:spPr>
          <a:xfrm>
            <a:off x="7599135" y="4306659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25BF5076-0554-4E6D-B18D-DDC48389B7F6}"/>
              </a:ext>
            </a:extLst>
          </p:cNvPr>
          <p:cNvSpPr/>
          <p:nvPr/>
        </p:nvSpPr>
        <p:spPr>
          <a:xfrm>
            <a:off x="3770085" y="4306659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EA2E6F60-ABE7-406C-AFB5-6673E55C1242}"/>
              </a:ext>
            </a:extLst>
          </p:cNvPr>
          <p:cNvSpPr/>
          <p:nvPr/>
        </p:nvSpPr>
        <p:spPr>
          <a:xfrm>
            <a:off x="7599135" y="3388712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65A1CF35-DD44-4C30-8F42-07B947C079DE}"/>
              </a:ext>
            </a:extLst>
          </p:cNvPr>
          <p:cNvSpPr/>
          <p:nvPr/>
        </p:nvSpPr>
        <p:spPr>
          <a:xfrm>
            <a:off x="3770085" y="3388712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5C3BB5C5-3E72-486D-BD22-BD3D717C46CD}"/>
              </a:ext>
            </a:extLst>
          </p:cNvPr>
          <p:cNvSpPr/>
          <p:nvPr/>
        </p:nvSpPr>
        <p:spPr>
          <a:xfrm>
            <a:off x="4413251" y="2476045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Rectangle: Top Corners Rounded 67">
            <a:extLst>
              <a:ext uri="{FF2B5EF4-FFF2-40B4-BE49-F238E27FC236}">
                <a16:creationId xmlns:a16="http://schemas.microsoft.com/office/drawing/2014/main" id="{0D85C21C-2390-45F2-9177-A06700566D38}"/>
              </a:ext>
            </a:extLst>
          </p:cNvPr>
          <p:cNvSpPr/>
          <p:nvPr/>
        </p:nvSpPr>
        <p:spPr>
          <a:xfrm>
            <a:off x="968376" y="1438275"/>
            <a:ext cx="4514850" cy="9842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84A8C99B-B8E2-4493-9548-F990A45B775F}"/>
              </a:ext>
            </a:extLst>
          </p:cNvPr>
          <p:cNvSpPr/>
          <p:nvPr/>
        </p:nvSpPr>
        <p:spPr>
          <a:xfrm>
            <a:off x="6708775" y="1438275"/>
            <a:ext cx="4514850" cy="9842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18880C7-EB40-44E0-8E8F-4C9309F5F632}"/>
              </a:ext>
            </a:extLst>
          </p:cNvPr>
          <p:cNvSpPr/>
          <p:nvPr/>
        </p:nvSpPr>
        <p:spPr>
          <a:xfrm>
            <a:off x="469276" y="1536700"/>
            <a:ext cx="11253448" cy="3651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Date Placeholder 62">
            <a:extLst>
              <a:ext uri="{FF2B5EF4-FFF2-40B4-BE49-F238E27FC236}">
                <a16:creationId xmlns:a16="http://schemas.microsoft.com/office/drawing/2014/main" id="{77E8CDB2-0291-409B-A560-ECC0BAD569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1EDB9-283E-45C0-AC04-1EF28884500D}" type="datetime1">
              <a:rPr lang="en-US" smtClean="0"/>
              <a:t>9/4/2019</a:t>
            </a:fld>
            <a:endParaRPr lang="en-US" dirty="0"/>
          </a:p>
        </p:txBody>
      </p:sp>
      <p:sp>
        <p:nvSpPr>
          <p:cNvPr id="64" name="Slide Number Placeholder 63">
            <a:extLst>
              <a:ext uri="{FF2B5EF4-FFF2-40B4-BE49-F238E27FC236}">
                <a16:creationId xmlns:a16="http://schemas.microsoft.com/office/drawing/2014/main" id="{25886065-57E9-4A13-980D-FB51F031B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A3C94-99AD-4370-9394-C6F447157082}" type="slidenum">
              <a:rPr lang="en-US" smtClean="0"/>
              <a:t>2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59959A9-7089-4810-944F-2B841F6DD486}"/>
              </a:ext>
            </a:extLst>
          </p:cNvPr>
          <p:cNvSpPr/>
          <p:nvPr/>
        </p:nvSpPr>
        <p:spPr>
          <a:xfrm>
            <a:off x="1030287" y="1438275"/>
            <a:ext cx="4384676" cy="561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Malgun Gothic"/>
                <a:ea typeface="Malgun Gothic"/>
                <a:cs typeface="Verdana"/>
              </a:rPr>
              <a:t>WWW</a:t>
            </a:r>
            <a:endParaRPr lang="ko-KR" altLang="en-US" sz="2000" b="1">
              <a:latin typeface="Malgun Gothic"/>
              <a:ea typeface="Malgun Gothic"/>
              <a:cs typeface="Verdana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D99649C-086F-4537-8C72-A29547D194D9}"/>
              </a:ext>
            </a:extLst>
          </p:cNvPr>
          <p:cNvSpPr/>
          <p:nvPr/>
        </p:nvSpPr>
        <p:spPr>
          <a:xfrm>
            <a:off x="6773862" y="1438275"/>
            <a:ext cx="4384676" cy="5619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000" err="1">
                <a:latin typeface="Malgun Gothic"/>
                <a:ea typeface="바탕"/>
                <a:cs typeface="Segoe UI"/>
              </a:rPr>
              <a:t>팀원</a:t>
            </a:r>
            <a:endParaRPr lang="en-US" altLang="ko-KR" sz="2000">
              <a:latin typeface="Malgun Gothic"/>
              <a:ea typeface="바탕"/>
              <a:cs typeface="Segoe UI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37A1D01-2D41-4354-8B59-E03990FCFB3C}"/>
              </a:ext>
            </a:extLst>
          </p:cNvPr>
          <p:cNvSpPr/>
          <p:nvPr/>
        </p:nvSpPr>
        <p:spPr>
          <a:xfrm>
            <a:off x="4181475" y="2345871"/>
            <a:ext cx="3829050" cy="3829050"/>
          </a:xfrm>
          <a:prstGeom prst="ellipse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02DAC910-A0C7-4BEF-927B-B096BB7E759E}"/>
              </a:ext>
            </a:extLst>
          </p:cNvPr>
          <p:cNvSpPr/>
          <p:nvPr/>
        </p:nvSpPr>
        <p:spPr>
          <a:xfrm>
            <a:off x="3890282" y="3511549"/>
            <a:ext cx="582386" cy="582386"/>
          </a:xfrm>
          <a:prstGeom prst="ellipse">
            <a:avLst/>
          </a:prstGeom>
          <a:solidFill>
            <a:srgbClr val="AF5F6D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A6D83250-FEF7-47D0-825E-8D8ACAE99529}"/>
              </a:ext>
            </a:extLst>
          </p:cNvPr>
          <p:cNvSpPr/>
          <p:nvPr/>
        </p:nvSpPr>
        <p:spPr>
          <a:xfrm>
            <a:off x="7719332" y="3511549"/>
            <a:ext cx="582386" cy="582386"/>
          </a:xfrm>
          <a:prstGeom prst="ellipse">
            <a:avLst/>
          </a:prstGeom>
          <a:solidFill>
            <a:srgbClr val="EB6B56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1AC4C531-AE90-4026-B0D7-22E44BD18CFF}"/>
              </a:ext>
            </a:extLst>
          </p:cNvPr>
          <p:cNvSpPr/>
          <p:nvPr/>
        </p:nvSpPr>
        <p:spPr>
          <a:xfrm>
            <a:off x="3890282" y="4426856"/>
            <a:ext cx="582386" cy="582386"/>
          </a:xfrm>
          <a:prstGeom prst="ellipse">
            <a:avLst/>
          </a:prstGeom>
          <a:solidFill>
            <a:srgbClr val="AF5F6D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8D30738-579A-4967-BED8-B041FD59974D}"/>
              </a:ext>
            </a:extLst>
          </p:cNvPr>
          <p:cNvSpPr/>
          <p:nvPr/>
        </p:nvSpPr>
        <p:spPr>
          <a:xfrm>
            <a:off x="7719332" y="4426856"/>
            <a:ext cx="582386" cy="582386"/>
          </a:xfrm>
          <a:prstGeom prst="ellipse">
            <a:avLst/>
          </a:prstGeom>
          <a:solidFill>
            <a:srgbClr val="EB6B56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AACDCBC8-DD53-402A-8378-3C5810D772BF}"/>
              </a:ext>
            </a:extLst>
          </p:cNvPr>
          <p:cNvSpPr/>
          <p:nvPr/>
        </p:nvSpPr>
        <p:spPr>
          <a:xfrm>
            <a:off x="4533448" y="2596242"/>
            <a:ext cx="582386" cy="582386"/>
          </a:xfrm>
          <a:prstGeom prst="ellipse">
            <a:avLst/>
          </a:prstGeom>
          <a:solidFill>
            <a:srgbClr val="AF5F6D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954C43C7-1891-472F-A1DB-C02BFF33450D}"/>
              </a:ext>
            </a:extLst>
          </p:cNvPr>
          <p:cNvSpPr/>
          <p:nvPr/>
        </p:nvSpPr>
        <p:spPr>
          <a:xfrm>
            <a:off x="7076167" y="2596242"/>
            <a:ext cx="582386" cy="582386"/>
          </a:xfrm>
          <a:prstGeom prst="ellipse">
            <a:avLst/>
          </a:prstGeom>
          <a:solidFill>
            <a:srgbClr val="EB6B56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5CEF9737-12D7-4AD5-B110-2F5BD73D8990}"/>
              </a:ext>
            </a:extLst>
          </p:cNvPr>
          <p:cNvSpPr/>
          <p:nvPr/>
        </p:nvSpPr>
        <p:spPr>
          <a:xfrm>
            <a:off x="4533448" y="5342164"/>
            <a:ext cx="582386" cy="582386"/>
          </a:xfrm>
          <a:prstGeom prst="ellipse">
            <a:avLst/>
          </a:prstGeom>
          <a:solidFill>
            <a:srgbClr val="AF5F6D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Freeform 1675">
            <a:extLst>
              <a:ext uri="{FF2B5EF4-FFF2-40B4-BE49-F238E27FC236}">
                <a16:creationId xmlns:a16="http://schemas.microsoft.com/office/drawing/2014/main" id="{B0C1D16D-FFF6-4671-B2D0-5461FA31D2E3}"/>
              </a:ext>
            </a:extLst>
          </p:cNvPr>
          <p:cNvSpPr>
            <a:spLocks/>
          </p:cNvSpPr>
          <p:nvPr/>
        </p:nvSpPr>
        <p:spPr bwMode="auto">
          <a:xfrm>
            <a:off x="4686167" y="2769732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Freeform 1675">
            <a:extLst>
              <a:ext uri="{FF2B5EF4-FFF2-40B4-BE49-F238E27FC236}">
                <a16:creationId xmlns:a16="http://schemas.microsoft.com/office/drawing/2014/main" id="{CEF275CC-0E80-4CE9-867D-8830D40B9226}"/>
              </a:ext>
            </a:extLst>
          </p:cNvPr>
          <p:cNvSpPr>
            <a:spLocks/>
          </p:cNvSpPr>
          <p:nvPr/>
        </p:nvSpPr>
        <p:spPr bwMode="auto">
          <a:xfrm>
            <a:off x="7228885" y="2769732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Freeform 1675">
            <a:extLst>
              <a:ext uri="{FF2B5EF4-FFF2-40B4-BE49-F238E27FC236}">
                <a16:creationId xmlns:a16="http://schemas.microsoft.com/office/drawing/2014/main" id="{C933CD35-ECE8-4376-93FF-FA924EFBD993}"/>
              </a:ext>
            </a:extLst>
          </p:cNvPr>
          <p:cNvSpPr>
            <a:spLocks/>
          </p:cNvSpPr>
          <p:nvPr/>
        </p:nvSpPr>
        <p:spPr bwMode="auto">
          <a:xfrm>
            <a:off x="4686167" y="5515654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1675">
            <a:extLst>
              <a:ext uri="{FF2B5EF4-FFF2-40B4-BE49-F238E27FC236}">
                <a16:creationId xmlns:a16="http://schemas.microsoft.com/office/drawing/2014/main" id="{B8D649AD-E83C-42A6-A04B-68A40523C8F6}"/>
              </a:ext>
            </a:extLst>
          </p:cNvPr>
          <p:cNvSpPr>
            <a:spLocks/>
          </p:cNvSpPr>
          <p:nvPr/>
        </p:nvSpPr>
        <p:spPr bwMode="auto">
          <a:xfrm>
            <a:off x="4043000" y="4600346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Freeform 1675">
            <a:extLst>
              <a:ext uri="{FF2B5EF4-FFF2-40B4-BE49-F238E27FC236}">
                <a16:creationId xmlns:a16="http://schemas.microsoft.com/office/drawing/2014/main" id="{14085482-209F-4FAD-9EB6-CD20F5484E57}"/>
              </a:ext>
            </a:extLst>
          </p:cNvPr>
          <p:cNvSpPr>
            <a:spLocks/>
          </p:cNvSpPr>
          <p:nvPr/>
        </p:nvSpPr>
        <p:spPr bwMode="auto">
          <a:xfrm>
            <a:off x="7872050" y="4600346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Freeform 1675">
            <a:extLst>
              <a:ext uri="{FF2B5EF4-FFF2-40B4-BE49-F238E27FC236}">
                <a16:creationId xmlns:a16="http://schemas.microsoft.com/office/drawing/2014/main" id="{92409E74-500D-437B-A07D-A9D471F80838}"/>
              </a:ext>
            </a:extLst>
          </p:cNvPr>
          <p:cNvSpPr>
            <a:spLocks/>
          </p:cNvSpPr>
          <p:nvPr/>
        </p:nvSpPr>
        <p:spPr bwMode="auto">
          <a:xfrm>
            <a:off x="4043000" y="3685039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Freeform 1675">
            <a:extLst>
              <a:ext uri="{FF2B5EF4-FFF2-40B4-BE49-F238E27FC236}">
                <a16:creationId xmlns:a16="http://schemas.microsoft.com/office/drawing/2014/main" id="{7960689A-4C5B-430D-A0A8-638E345CF578}"/>
              </a:ext>
            </a:extLst>
          </p:cNvPr>
          <p:cNvSpPr>
            <a:spLocks/>
          </p:cNvSpPr>
          <p:nvPr/>
        </p:nvSpPr>
        <p:spPr bwMode="auto">
          <a:xfrm>
            <a:off x="7872050" y="3685039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8CFB275C-D847-4540-9E59-A238222D132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16804" y="2696826"/>
            <a:ext cx="3676331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en-US" b="1" dirty="0">
                <a:solidFill>
                  <a:schemeClr val="accent1"/>
                </a:solidFill>
                <a:latin typeface="Malgun Gothic"/>
                <a:ea typeface="Malgun Gothic"/>
                <a:cs typeface="Segoe UI"/>
              </a:rPr>
              <a:t>W</a:t>
            </a:r>
            <a:r>
              <a:rPr lang="en-US" dirty="0">
                <a:solidFill>
                  <a:schemeClr val="accent1"/>
                </a:solidFill>
                <a:latin typeface="Malgun Gothic"/>
                <a:ea typeface="Malgun Gothic"/>
                <a:cs typeface="Segoe UI"/>
              </a:rPr>
              <a:t>oman </a:t>
            </a:r>
            <a:r>
              <a:rPr lang="en-US" b="1" dirty="0">
                <a:solidFill>
                  <a:schemeClr val="accent1"/>
                </a:solidFill>
                <a:latin typeface="Malgun Gothic"/>
                <a:ea typeface="Malgun Gothic"/>
                <a:cs typeface="Segoe UI"/>
              </a:rPr>
              <a:t>W</a:t>
            </a:r>
            <a:r>
              <a:rPr lang="en-US" dirty="0">
                <a:solidFill>
                  <a:schemeClr val="accent1"/>
                </a:solidFill>
                <a:latin typeface="Malgun Gothic"/>
                <a:ea typeface="Malgun Gothic"/>
                <a:cs typeface="Segoe UI"/>
              </a:rPr>
              <a:t>ill </a:t>
            </a:r>
            <a:r>
              <a:rPr lang="en-US" b="1">
                <a:solidFill>
                  <a:schemeClr val="accent1"/>
                </a:solidFill>
                <a:latin typeface="Malgun Gothic"/>
                <a:ea typeface="Malgun Gothic"/>
                <a:cs typeface="Segoe UI"/>
              </a:rPr>
              <a:t>W</a:t>
            </a:r>
            <a:r>
              <a:rPr lang="en-US">
                <a:solidFill>
                  <a:schemeClr val="accent1"/>
                </a:solidFill>
                <a:latin typeface="Malgun Gothic"/>
                <a:ea typeface="Malgun Gothic"/>
                <a:cs typeface="Segoe UI"/>
              </a:rPr>
              <a:t>in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26484801-8D2B-4A81-B21C-021402E4069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16804" y="5340969"/>
            <a:ext cx="3676331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여성팀이 이길 것이라는</a:t>
            </a:r>
            <a:endParaRPr lang="ko-KR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r"/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포부를 담았습니다.</a:t>
            </a:r>
            <a:endParaRPr lang="ko-KR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F5DF2775-EF9F-45E0-8871-D568BEFE0F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898866" y="2712215"/>
            <a:ext cx="3676331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김수민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4E20BC7C-450B-4C5C-BB26-CB433E3619B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558373" y="3630825"/>
            <a:ext cx="3000564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ko-KR" altLang="en-US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김향이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BB216AA6-1EB8-43D8-BF71-30CA15FA055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558373" y="4548772"/>
            <a:ext cx="3000564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ko-KR" altLang="en-US" sz="1600" b="1" dirty="0" err="1">
                <a:solidFill>
                  <a:schemeClr val="tx2"/>
                </a:solidFill>
                <a:latin typeface="Malgun Gothic"/>
                <a:ea typeface="Malgun Gothic"/>
              </a:rPr>
              <a:t>손규리</a:t>
            </a:r>
            <a:r>
              <a:rPr lang="ko-KR" altLang="en-US" sz="1600" b="1" dirty="0">
                <a:solidFill>
                  <a:schemeClr val="tx2"/>
                </a:solidFill>
                <a:latin typeface="Malgun Gothic"/>
                <a:ea typeface="Malgun Gothic"/>
              </a:rPr>
              <a:t>(PM)</a:t>
            </a:r>
            <a:endParaRPr lang="en-US" altLang="ko-KR" sz="1600" b="1" dirty="0" err="1">
              <a:solidFill>
                <a:schemeClr val="tx2"/>
              </a:solidFill>
              <a:latin typeface="Rockwell" panose="02060603020205020403"/>
              <a:ea typeface="바탕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6011631-B998-4204-A69C-ABFC931A6F8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33064" y="3630824"/>
            <a:ext cx="3000564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전원 여성으로만 구성된 팀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F72FFEF9-629F-46B2-84AE-C3F2458A510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33064" y="4425662"/>
            <a:ext cx="3000564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필요한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정보를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검색할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수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있는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  <a:p>
            <a:pPr algn="r"/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시스템이라는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의미와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함께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D3424BE9-692B-4E36-BC22-ED00297763ED}"/>
              </a:ext>
            </a:extLst>
          </p:cNvPr>
          <p:cNvGrpSpPr/>
          <p:nvPr/>
        </p:nvGrpSpPr>
        <p:grpSpPr>
          <a:xfrm>
            <a:off x="4962743" y="3592513"/>
            <a:ext cx="2266515" cy="1335768"/>
            <a:chOff x="501651" y="2093913"/>
            <a:chExt cx="5454649" cy="3214688"/>
          </a:xfrm>
          <a:solidFill>
            <a:schemeClr val="bg2">
              <a:lumMod val="90000"/>
            </a:schemeClr>
          </a:solidFill>
        </p:grpSpPr>
        <p:sp>
          <p:nvSpPr>
            <p:cNvPr id="100" name="Freeform 6">
              <a:extLst>
                <a:ext uri="{FF2B5EF4-FFF2-40B4-BE49-F238E27FC236}">
                  <a16:creationId xmlns:a16="http://schemas.microsoft.com/office/drawing/2014/main" id="{7D2EA86A-0058-471F-9A51-516AE0A866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651" y="2093913"/>
              <a:ext cx="1336675" cy="3214688"/>
            </a:xfrm>
            <a:custGeom>
              <a:avLst/>
              <a:gdLst>
                <a:gd name="T0" fmla="*/ 631 w 716"/>
                <a:gd name="T1" fmla="*/ 1609 h 1723"/>
                <a:gd name="T2" fmla="*/ 568 w 716"/>
                <a:gd name="T3" fmla="*/ 1516 h 1723"/>
                <a:gd name="T4" fmla="*/ 569 w 716"/>
                <a:gd name="T5" fmla="*/ 1333 h 1723"/>
                <a:gd name="T6" fmla="*/ 586 w 716"/>
                <a:gd name="T7" fmla="*/ 1213 h 1723"/>
                <a:gd name="T8" fmla="*/ 574 w 716"/>
                <a:gd name="T9" fmla="*/ 1098 h 1723"/>
                <a:gd name="T10" fmla="*/ 557 w 716"/>
                <a:gd name="T11" fmla="*/ 1017 h 1723"/>
                <a:gd name="T12" fmla="*/ 534 w 716"/>
                <a:gd name="T13" fmla="*/ 880 h 1723"/>
                <a:gd name="T14" fmla="*/ 562 w 716"/>
                <a:gd name="T15" fmla="*/ 796 h 1723"/>
                <a:gd name="T16" fmla="*/ 575 w 716"/>
                <a:gd name="T17" fmla="*/ 718 h 1723"/>
                <a:gd name="T18" fmla="*/ 576 w 716"/>
                <a:gd name="T19" fmla="*/ 630 h 1723"/>
                <a:gd name="T20" fmla="*/ 561 w 716"/>
                <a:gd name="T21" fmla="*/ 539 h 1723"/>
                <a:gd name="T22" fmla="*/ 521 w 716"/>
                <a:gd name="T23" fmla="*/ 387 h 1723"/>
                <a:gd name="T24" fmla="*/ 472 w 716"/>
                <a:gd name="T25" fmla="*/ 270 h 1723"/>
                <a:gd name="T26" fmla="*/ 349 w 716"/>
                <a:gd name="T27" fmla="*/ 243 h 1723"/>
                <a:gd name="T28" fmla="*/ 343 w 716"/>
                <a:gd name="T29" fmla="*/ 167 h 1723"/>
                <a:gd name="T30" fmla="*/ 348 w 716"/>
                <a:gd name="T31" fmla="*/ 101 h 1723"/>
                <a:gd name="T32" fmla="*/ 299 w 716"/>
                <a:gd name="T33" fmla="*/ 9 h 1723"/>
                <a:gd name="T34" fmla="*/ 198 w 716"/>
                <a:gd name="T35" fmla="*/ 57 h 1723"/>
                <a:gd name="T36" fmla="*/ 188 w 716"/>
                <a:gd name="T37" fmla="*/ 118 h 1723"/>
                <a:gd name="T38" fmla="*/ 212 w 716"/>
                <a:gd name="T39" fmla="*/ 220 h 1723"/>
                <a:gd name="T40" fmla="*/ 155 w 716"/>
                <a:gd name="T41" fmla="*/ 271 h 1723"/>
                <a:gd name="T42" fmla="*/ 42 w 716"/>
                <a:gd name="T43" fmla="*/ 330 h 1723"/>
                <a:gd name="T44" fmla="*/ 30 w 716"/>
                <a:gd name="T45" fmla="*/ 404 h 1723"/>
                <a:gd name="T46" fmla="*/ 20 w 716"/>
                <a:gd name="T47" fmla="*/ 499 h 1723"/>
                <a:gd name="T48" fmla="*/ 7 w 716"/>
                <a:gd name="T49" fmla="*/ 636 h 1723"/>
                <a:gd name="T50" fmla="*/ 23 w 716"/>
                <a:gd name="T51" fmla="*/ 721 h 1723"/>
                <a:gd name="T52" fmla="*/ 60 w 716"/>
                <a:gd name="T53" fmla="*/ 808 h 1723"/>
                <a:gd name="T54" fmla="*/ 83 w 716"/>
                <a:gd name="T55" fmla="*/ 857 h 1723"/>
                <a:gd name="T56" fmla="*/ 137 w 716"/>
                <a:gd name="T57" fmla="*/ 887 h 1723"/>
                <a:gd name="T58" fmla="*/ 153 w 716"/>
                <a:gd name="T59" fmla="*/ 955 h 1723"/>
                <a:gd name="T60" fmla="*/ 177 w 716"/>
                <a:gd name="T61" fmla="*/ 1127 h 1723"/>
                <a:gd name="T62" fmla="*/ 191 w 716"/>
                <a:gd name="T63" fmla="*/ 1281 h 1723"/>
                <a:gd name="T64" fmla="*/ 201 w 716"/>
                <a:gd name="T65" fmla="*/ 1394 h 1723"/>
                <a:gd name="T66" fmla="*/ 210 w 716"/>
                <a:gd name="T67" fmla="*/ 1495 h 1723"/>
                <a:gd name="T68" fmla="*/ 236 w 716"/>
                <a:gd name="T69" fmla="*/ 1598 h 1723"/>
                <a:gd name="T70" fmla="*/ 230 w 716"/>
                <a:gd name="T71" fmla="*/ 1646 h 1723"/>
                <a:gd name="T72" fmla="*/ 311 w 716"/>
                <a:gd name="T73" fmla="*/ 1696 h 1723"/>
                <a:gd name="T74" fmla="*/ 338 w 716"/>
                <a:gd name="T75" fmla="*/ 1589 h 1723"/>
                <a:gd name="T76" fmla="*/ 338 w 716"/>
                <a:gd name="T77" fmla="*/ 1467 h 1723"/>
                <a:gd name="T78" fmla="*/ 311 w 716"/>
                <a:gd name="T79" fmla="*/ 1326 h 1723"/>
                <a:gd name="T80" fmla="*/ 311 w 716"/>
                <a:gd name="T81" fmla="*/ 1235 h 1723"/>
                <a:gd name="T82" fmla="*/ 318 w 716"/>
                <a:gd name="T83" fmla="*/ 1152 h 1723"/>
                <a:gd name="T84" fmla="*/ 329 w 716"/>
                <a:gd name="T85" fmla="*/ 1037 h 1723"/>
                <a:gd name="T86" fmla="*/ 348 w 716"/>
                <a:gd name="T87" fmla="*/ 1001 h 1723"/>
                <a:gd name="T88" fmla="*/ 418 w 716"/>
                <a:gd name="T89" fmla="*/ 1243 h 1723"/>
                <a:gd name="T90" fmla="*/ 441 w 716"/>
                <a:gd name="T91" fmla="*/ 1366 h 1723"/>
                <a:gd name="T92" fmla="*/ 449 w 716"/>
                <a:gd name="T93" fmla="*/ 1466 h 1723"/>
                <a:gd name="T94" fmla="*/ 430 w 716"/>
                <a:gd name="T95" fmla="*/ 1584 h 1723"/>
                <a:gd name="T96" fmla="*/ 497 w 716"/>
                <a:gd name="T97" fmla="*/ 1653 h 1723"/>
                <a:gd name="T98" fmla="*/ 610 w 716"/>
                <a:gd name="T99" fmla="*/ 1664 h 1723"/>
                <a:gd name="T100" fmla="*/ 694 w 716"/>
                <a:gd name="T101" fmla="*/ 1657 h 1723"/>
                <a:gd name="T102" fmla="*/ 133 w 716"/>
                <a:gd name="T103" fmla="*/ 680 h 1723"/>
                <a:gd name="T104" fmla="*/ 113 w 716"/>
                <a:gd name="T105" fmla="*/ 663 h 1723"/>
                <a:gd name="T106" fmla="*/ 113 w 716"/>
                <a:gd name="T107" fmla="*/ 602 h 1723"/>
                <a:gd name="T108" fmla="*/ 127 w 716"/>
                <a:gd name="T109" fmla="*/ 585 h 1723"/>
                <a:gd name="T110" fmla="*/ 702 w 716"/>
                <a:gd name="T111" fmla="*/ 1652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16" h="1723">
                  <a:moveTo>
                    <a:pt x="706" y="1619"/>
                  </a:moveTo>
                  <a:cubicBezTo>
                    <a:pt x="696" y="1619"/>
                    <a:pt x="687" y="1619"/>
                    <a:pt x="677" y="1619"/>
                  </a:cubicBezTo>
                  <a:cubicBezTo>
                    <a:pt x="665" y="1619"/>
                    <a:pt x="654" y="1617"/>
                    <a:pt x="643" y="1613"/>
                  </a:cubicBezTo>
                  <a:cubicBezTo>
                    <a:pt x="639" y="1611"/>
                    <a:pt x="635" y="1610"/>
                    <a:pt x="631" y="1609"/>
                  </a:cubicBezTo>
                  <a:cubicBezTo>
                    <a:pt x="618" y="1606"/>
                    <a:pt x="606" y="1603"/>
                    <a:pt x="595" y="1594"/>
                  </a:cubicBezTo>
                  <a:cubicBezTo>
                    <a:pt x="595" y="1591"/>
                    <a:pt x="594" y="1587"/>
                    <a:pt x="591" y="1585"/>
                  </a:cubicBezTo>
                  <a:cubicBezTo>
                    <a:pt x="585" y="1580"/>
                    <a:pt x="582" y="1574"/>
                    <a:pt x="580" y="1566"/>
                  </a:cubicBezTo>
                  <a:cubicBezTo>
                    <a:pt x="577" y="1549"/>
                    <a:pt x="572" y="1533"/>
                    <a:pt x="568" y="1516"/>
                  </a:cubicBezTo>
                  <a:cubicBezTo>
                    <a:pt x="566" y="1510"/>
                    <a:pt x="564" y="1503"/>
                    <a:pt x="564" y="1497"/>
                  </a:cubicBezTo>
                  <a:cubicBezTo>
                    <a:pt x="563" y="1474"/>
                    <a:pt x="564" y="1450"/>
                    <a:pt x="562" y="1427"/>
                  </a:cubicBezTo>
                  <a:cubicBezTo>
                    <a:pt x="561" y="1409"/>
                    <a:pt x="563" y="1391"/>
                    <a:pt x="565" y="1373"/>
                  </a:cubicBezTo>
                  <a:cubicBezTo>
                    <a:pt x="567" y="1360"/>
                    <a:pt x="568" y="1347"/>
                    <a:pt x="569" y="1333"/>
                  </a:cubicBezTo>
                  <a:cubicBezTo>
                    <a:pt x="569" y="1322"/>
                    <a:pt x="568" y="1310"/>
                    <a:pt x="570" y="1299"/>
                  </a:cubicBezTo>
                  <a:cubicBezTo>
                    <a:pt x="572" y="1289"/>
                    <a:pt x="573" y="1280"/>
                    <a:pt x="574" y="1270"/>
                  </a:cubicBezTo>
                  <a:cubicBezTo>
                    <a:pt x="576" y="1260"/>
                    <a:pt x="578" y="1251"/>
                    <a:pt x="580" y="1241"/>
                  </a:cubicBezTo>
                  <a:cubicBezTo>
                    <a:pt x="582" y="1232"/>
                    <a:pt x="582" y="1222"/>
                    <a:pt x="586" y="1213"/>
                  </a:cubicBezTo>
                  <a:cubicBezTo>
                    <a:pt x="590" y="1202"/>
                    <a:pt x="590" y="1191"/>
                    <a:pt x="591" y="1181"/>
                  </a:cubicBezTo>
                  <a:cubicBezTo>
                    <a:pt x="593" y="1167"/>
                    <a:pt x="589" y="1154"/>
                    <a:pt x="585" y="1142"/>
                  </a:cubicBezTo>
                  <a:cubicBezTo>
                    <a:pt x="585" y="1139"/>
                    <a:pt x="584" y="1136"/>
                    <a:pt x="583" y="1133"/>
                  </a:cubicBezTo>
                  <a:cubicBezTo>
                    <a:pt x="581" y="1121"/>
                    <a:pt x="579" y="1109"/>
                    <a:pt x="574" y="1098"/>
                  </a:cubicBezTo>
                  <a:cubicBezTo>
                    <a:pt x="571" y="1092"/>
                    <a:pt x="570" y="1085"/>
                    <a:pt x="569" y="1079"/>
                  </a:cubicBezTo>
                  <a:cubicBezTo>
                    <a:pt x="566" y="1068"/>
                    <a:pt x="565" y="1057"/>
                    <a:pt x="560" y="1047"/>
                  </a:cubicBezTo>
                  <a:cubicBezTo>
                    <a:pt x="557" y="1042"/>
                    <a:pt x="555" y="1036"/>
                    <a:pt x="557" y="1029"/>
                  </a:cubicBezTo>
                  <a:cubicBezTo>
                    <a:pt x="558" y="1026"/>
                    <a:pt x="558" y="1021"/>
                    <a:pt x="557" y="1017"/>
                  </a:cubicBezTo>
                  <a:cubicBezTo>
                    <a:pt x="555" y="1007"/>
                    <a:pt x="553" y="998"/>
                    <a:pt x="551" y="988"/>
                  </a:cubicBezTo>
                  <a:cubicBezTo>
                    <a:pt x="550" y="984"/>
                    <a:pt x="550" y="980"/>
                    <a:pt x="551" y="977"/>
                  </a:cubicBezTo>
                  <a:cubicBezTo>
                    <a:pt x="554" y="964"/>
                    <a:pt x="552" y="952"/>
                    <a:pt x="545" y="943"/>
                  </a:cubicBezTo>
                  <a:cubicBezTo>
                    <a:pt x="541" y="922"/>
                    <a:pt x="538" y="902"/>
                    <a:pt x="534" y="880"/>
                  </a:cubicBezTo>
                  <a:cubicBezTo>
                    <a:pt x="536" y="876"/>
                    <a:pt x="539" y="871"/>
                    <a:pt x="542" y="866"/>
                  </a:cubicBezTo>
                  <a:cubicBezTo>
                    <a:pt x="547" y="855"/>
                    <a:pt x="554" y="845"/>
                    <a:pt x="556" y="832"/>
                  </a:cubicBezTo>
                  <a:cubicBezTo>
                    <a:pt x="557" y="827"/>
                    <a:pt x="558" y="822"/>
                    <a:pt x="559" y="817"/>
                  </a:cubicBezTo>
                  <a:cubicBezTo>
                    <a:pt x="561" y="810"/>
                    <a:pt x="562" y="803"/>
                    <a:pt x="562" y="796"/>
                  </a:cubicBezTo>
                  <a:cubicBezTo>
                    <a:pt x="562" y="793"/>
                    <a:pt x="563" y="790"/>
                    <a:pt x="563" y="788"/>
                  </a:cubicBezTo>
                  <a:cubicBezTo>
                    <a:pt x="568" y="776"/>
                    <a:pt x="569" y="763"/>
                    <a:pt x="564" y="751"/>
                  </a:cubicBezTo>
                  <a:cubicBezTo>
                    <a:pt x="561" y="744"/>
                    <a:pt x="562" y="738"/>
                    <a:pt x="568" y="733"/>
                  </a:cubicBezTo>
                  <a:cubicBezTo>
                    <a:pt x="572" y="729"/>
                    <a:pt x="575" y="724"/>
                    <a:pt x="575" y="718"/>
                  </a:cubicBezTo>
                  <a:cubicBezTo>
                    <a:pt x="576" y="710"/>
                    <a:pt x="577" y="703"/>
                    <a:pt x="579" y="695"/>
                  </a:cubicBezTo>
                  <a:cubicBezTo>
                    <a:pt x="579" y="692"/>
                    <a:pt x="580" y="688"/>
                    <a:pt x="580" y="685"/>
                  </a:cubicBezTo>
                  <a:cubicBezTo>
                    <a:pt x="580" y="678"/>
                    <a:pt x="579" y="670"/>
                    <a:pt x="578" y="663"/>
                  </a:cubicBezTo>
                  <a:cubicBezTo>
                    <a:pt x="578" y="652"/>
                    <a:pt x="577" y="641"/>
                    <a:pt x="576" y="630"/>
                  </a:cubicBezTo>
                  <a:cubicBezTo>
                    <a:pt x="575" y="628"/>
                    <a:pt x="576" y="625"/>
                    <a:pt x="576" y="623"/>
                  </a:cubicBezTo>
                  <a:cubicBezTo>
                    <a:pt x="578" y="611"/>
                    <a:pt x="581" y="599"/>
                    <a:pt x="580" y="586"/>
                  </a:cubicBezTo>
                  <a:cubicBezTo>
                    <a:pt x="580" y="580"/>
                    <a:pt x="579" y="574"/>
                    <a:pt x="576" y="569"/>
                  </a:cubicBezTo>
                  <a:cubicBezTo>
                    <a:pt x="571" y="559"/>
                    <a:pt x="566" y="549"/>
                    <a:pt x="561" y="539"/>
                  </a:cubicBezTo>
                  <a:cubicBezTo>
                    <a:pt x="559" y="535"/>
                    <a:pt x="557" y="531"/>
                    <a:pt x="556" y="526"/>
                  </a:cubicBezTo>
                  <a:cubicBezTo>
                    <a:pt x="554" y="516"/>
                    <a:pt x="553" y="505"/>
                    <a:pt x="551" y="494"/>
                  </a:cubicBezTo>
                  <a:cubicBezTo>
                    <a:pt x="547" y="478"/>
                    <a:pt x="544" y="461"/>
                    <a:pt x="539" y="446"/>
                  </a:cubicBezTo>
                  <a:cubicBezTo>
                    <a:pt x="534" y="426"/>
                    <a:pt x="527" y="406"/>
                    <a:pt x="521" y="387"/>
                  </a:cubicBezTo>
                  <a:cubicBezTo>
                    <a:pt x="515" y="367"/>
                    <a:pt x="509" y="347"/>
                    <a:pt x="504" y="327"/>
                  </a:cubicBezTo>
                  <a:cubicBezTo>
                    <a:pt x="500" y="311"/>
                    <a:pt x="494" y="296"/>
                    <a:pt x="487" y="280"/>
                  </a:cubicBezTo>
                  <a:cubicBezTo>
                    <a:pt x="485" y="278"/>
                    <a:pt x="483" y="275"/>
                    <a:pt x="481" y="273"/>
                  </a:cubicBezTo>
                  <a:cubicBezTo>
                    <a:pt x="479" y="270"/>
                    <a:pt x="475" y="268"/>
                    <a:pt x="472" y="270"/>
                  </a:cubicBezTo>
                  <a:cubicBezTo>
                    <a:pt x="468" y="272"/>
                    <a:pt x="465" y="270"/>
                    <a:pt x="461" y="269"/>
                  </a:cubicBezTo>
                  <a:cubicBezTo>
                    <a:pt x="458" y="267"/>
                    <a:pt x="454" y="266"/>
                    <a:pt x="451" y="264"/>
                  </a:cubicBezTo>
                  <a:cubicBezTo>
                    <a:pt x="434" y="259"/>
                    <a:pt x="417" y="255"/>
                    <a:pt x="400" y="253"/>
                  </a:cubicBezTo>
                  <a:cubicBezTo>
                    <a:pt x="383" y="250"/>
                    <a:pt x="366" y="247"/>
                    <a:pt x="349" y="243"/>
                  </a:cubicBezTo>
                  <a:cubicBezTo>
                    <a:pt x="345" y="242"/>
                    <a:pt x="341" y="239"/>
                    <a:pt x="338" y="236"/>
                  </a:cubicBezTo>
                  <a:cubicBezTo>
                    <a:pt x="334" y="233"/>
                    <a:pt x="332" y="229"/>
                    <a:pt x="329" y="226"/>
                  </a:cubicBezTo>
                  <a:cubicBezTo>
                    <a:pt x="328" y="211"/>
                    <a:pt x="329" y="202"/>
                    <a:pt x="340" y="168"/>
                  </a:cubicBezTo>
                  <a:cubicBezTo>
                    <a:pt x="341" y="168"/>
                    <a:pt x="342" y="167"/>
                    <a:pt x="343" y="167"/>
                  </a:cubicBezTo>
                  <a:cubicBezTo>
                    <a:pt x="349" y="164"/>
                    <a:pt x="350" y="162"/>
                    <a:pt x="349" y="155"/>
                  </a:cubicBezTo>
                  <a:cubicBezTo>
                    <a:pt x="349" y="154"/>
                    <a:pt x="349" y="152"/>
                    <a:pt x="350" y="151"/>
                  </a:cubicBezTo>
                  <a:cubicBezTo>
                    <a:pt x="350" y="147"/>
                    <a:pt x="351" y="142"/>
                    <a:pt x="351" y="138"/>
                  </a:cubicBezTo>
                  <a:cubicBezTo>
                    <a:pt x="351" y="126"/>
                    <a:pt x="350" y="113"/>
                    <a:pt x="348" y="101"/>
                  </a:cubicBezTo>
                  <a:cubicBezTo>
                    <a:pt x="347" y="91"/>
                    <a:pt x="346" y="80"/>
                    <a:pt x="344" y="70"/>
                  </a:cubicBezTo>
                  <a:cubicBezTo>
                    <a:pt x="342" y="58"/>
                    <a:pt x="337" y="47"/>
                    <a:pt x="332" y="36"/>
                  </a:cubicBezTo>
                  <a:cubicBezTo>
                    <a:pt x="329" y="30"/>
                    <a:pt x="324" y="25"/>
                    <a:pt x="319" y="21"/>
                  </a:cubicBezTo>
                  <a:cubicBezTo>
                    <a:pt x="313" y="17"/>
                    <a:pt x="306" y="13"/>
                    <a:pt x="299" y="9"/>
                  </a:cubicBezTo>
                  <a:cubicBezTo>
                    <a:pt x="291" y="5"/>
                    <a:pt x="283" y="0"/>
                    <a:pt x="273" y="3"/>
                  </a:cubicBezTo>
                  <a:cubicBezTo>
                    <a:pt x="260" y="1"/>
                    <a:pt x="249" y="7"/>
                    <a:pt x="239" y="13"/>
                  </a:cubicBezTo>
                  <a:cubicBezTo>
                    <a:pt x="229" y="19"/>
                    <a:pt x="219" y="25"/>
                    <a:pt x="210" y="34"/>
                  </a:cubicBezTo>
                  <a:cubicBezTo>
                    <a:pt x="204" y="41"/>
                    <a:pt x="199" y="48"/>
                    <a:pt x="198" y="57"/>
                  </a:cubicBezTo>
                  <a:cubicBezTo>
                    <a:pt x="197" y="64"/>
                    <a:pt x="196" y="71"/>
                    <a:pt x="194" y="78"/>
                  </a:cubicBezTo>
                  <a:cubicBezTo>
                    <a:pt x="192" y="88"/>
                    <a:pt x="192" y="98"/>
                    <a:pt x="195" y="108"/>
                  </a:cubicBezTo>
                  <a:cubicBezTo>
                    <a:pt x="193" y="109"/>
                    <a:pt x="191" y="109"/>
                    <a:pt x="189" y="109"/>
                  </a:cubicBezTo>
                  <a:cubicBezTo>
                    <a:pt x="189" y="112"/>
                    <a:pt x="188" y="115"/>
                    <a:pt x="188" y="118"/>
                  </a:cubicBezTo>
                  <a:cubicBezTo>
                    <a:pt x="189" y="125"/>
                    <a:pt x="190" y="133"/>
                    <a:pt x="190" y="140"/>
                  </a:cubicBezTo>
                  <a:cubicBezTo>
                    <a:pt x="189" y="151"/>
                    <a:pt x="195" y="160"/>
                    <a:pt x="200" y="168"/>
                  </a:cubicBezTo>
                  <a:cubicBezTo>
                    <a:pt x="203" y="168"/>
                    <a:pt x="205" y="168"/>
                    <a:pt x="207" y="168"/>
                  </a:cubicBezTo>
                  <a:cubicBezTo>
                    <a:pt x="212" y="185"/>
                    <a:pt x="214" y="202"/>
                    <a:pt x="212" y="220"/>
                  </a:cubicBezTo>
                  <a:cubicBezTo>
                    <a:pt x="209" y="223"/>
                    <a:pt x="205" y="227"/>
                    <a:pt x="202" y="230"/>
                  </a:cubicBezTo>
                  <a:cubicBezTo>
                    <a:pt x="200" y="234"/>
                    <a:pt x="198" y="238"/>
                    <a:pt x="197" y="242"/>
                  </a:cubicBezTo>
                  <a:cubicBezTo>
                    <a:pt x="194" y="251"/>
                    <a:pt x="188" y="257"/>
                    <a:pt x="179" y="261"/>
                  </a:cubicBezTo>
                  <a:cubicBezTo>
                    <a:pt x="171" y="264"/>
                    <a:pt x="163" y="268"/>
                    <a:pt x="155" y="271"/>
                  </a:cubicBezTo>
                  <a:cubicBezTo>
                    <a:pt x="139" y="278"/>
                    <a:pt x="122" y="286"/>
                    <a:pt x="106" y="292"/>
                  </a:cubicBezTo>
                  <a:cubicBezTo>
                    <a:pt x="90" y="298"/>
                    <a:pt x="75" y="306"/>
                    <a:pt x="61" y="317"/>
                  </a:cubicBezTo>
                  <a:cubicBezTo>
                    <a:pt x="60" y="317"/>
                    <a:pt x="59" y="317"/>
                    <a:pt x="58" y="317"/>
                  </a:cubicBezTo>
                  <a:cubicBezTo>
                    <a:pt x="49" y="317"/>
                    <a:pt x="45" y="321"/>
                    <a:pt x="42" y="330"/>
                  </a:cubicBezTo>
                  <a:cubicBezTo>
                    <a:pt x="39" y="342"/>
                    <a:pt x="38" y="354"/>
                    <a:pt x="37" y="366"/>
                  </a:cubicBezTo>
                  <a:cubicBezTo>
                    <a:pt x="36" y="369"/>
                    <a:pt x="37" y="372"/>
                    <a:pt x="37" y="374"/>
                  </a:cubicBezTo>
                  <a:cubicBezTo>
                    <a:pt x="37" y="378"/>
                    <a:pt x="38" y="382"/>
                    <a:pt x="37" y="386"/>
                  </a:cubicBezTo>
                  <a:cubicBezTo>
                    <a:pt x="35" y="392"/>
                    <a:pt x="32" y="398"/>
                    <a:pt x="30" y="404"/>
                  </a:cubicBezTo>
                  <a:cubicBezTo>
                    <a:pt x="26" y="416"/>
                    <a:pt x="23" y="427"/>
                    <a:pt x="27" y="439"/>
                  </a:cubicBezTo>
                  <a:cubicBezTo>
                    <a:pt x="27" y="441"/>
                    <a:pt x="27" y="443"/>
                    <a:pt x="27" y="445"/>
                  </a:cubicBezTo>
                  <a:cubicBezTo>
                    <a:pt x="25" y="458"/>
                    <a:pt x="23" y="471"/>
                    <a:pt x="22" y="483"/>
                  </a:cubicBezTo>
                  <a:cubicBezTo>
                    <a:pt x="21" y="488"/>
                    <a:pt x="20" y="494"/>
                    <a:pt x="20" y="499"/>
                  </a:cubicBezTo>
                  <a:cubicBezTo>
                    <a:pt x="17" y="517"/>
                    <a:pt x="14" y="534"/>
                    <a:pt x="12" y="552"/>
                  </a:cubicBezTo>
                  <a:cubicBezTo>
                    <a:pt x="11" y="563"/>
                    <a:pt x="10" y="575"/>
                    <a:pt x="8" y="586"/>
                  </a:cubicBezTo>
                  <a:cubicBezTo>
                    <a:pt x="6" y="599"/>
                    <a:pt x="6" y="611"/>
                    <a:pt x="9" y="624"/>
                  </a:cubicBezTo>
                  <a:cubicBezTo>
                    <a:pt x="11" y="629"/>
                    <a:pt x="10" y="633"/>
                    <a:pt x="7" y="636"/>
                  </a:cubicBezTo>
                  <a:cubicBezTo>
                    <a:pt x="2" y="641"/>
                    <a:pt x="0" y="647"/>
                    <a:pt x="0" y="654"/>
                  </a:cubicBezTo>
                  <a:cubicBezTo>
                    <a:pt x="0" y="660"/>
                    <a:pt x="2" y="665"/>
                    <a:pt x="4" y="670"/>
                  </a:cubicBezTo>
                  <a:cubicBezTo>
                    <a:pt x="6" y="680"/>
                    <a:pt x="9" y="690"/>
                    <a:pt x="11" y="700"/>
                  </a:cubicBezTo>
                  <a:cubicBezTo>
                    <a:pt x="13" y="708"/>
                    <a:pt x="18" y="715"/>
                    <a:pt x="23" y="721"/>
                  </a:cubicBezTo>
                  <a:cubicBezTo>
                    <a:pt x="28" y="726"/>
                    <a:pt x="32" y="731"/>
                    <a:pt x="33" y="738"/>
                  </a:cubicBezTo>
                  <a:cubicBezTo>
                    <a:pt x="35" y="749"/>
                    <a:pt x="39" y="759"/>
                    <a:pt x="44" y="769"/>
                  </a:cubicBezTo>
                  <a:cubicBezTo>
                    <a:pt x="46" y="774"/>
                    <a:pt x="48" y="780"/>
                    <a:pt x="49" y="786"/>
                  </a:cubicBezTo>
                  <a:cubicBezTo>
                    <a:pt x="51" y="795"/>
                    <a:pt x="54" y="802"/>
                    <a:pt x="60" y="808"/>
                  </a:cubicBezTo>
                  <a:cubicBezTo>
                    <a:pt x="67" y="816"/>
                    <a:pt x="74" y="824"/>
                    <a:pt x="73" y="836"/>
                  </a:cubicBezTo>
                  <a:cubicBezTo>
                    <a:pt x="73" y="837"/>
                    <a:pt x="74" y="839"/>
                    <a:pt x="74" y="840"/>
                  </a:cubicBezTo>
                  <a:cubicBezTo>
                    <a:pt x="75" y="842"/>
                    <a:pt x="77" y="844"/>
                    <a:pt x="77" y="845"/>
                  </a:cubicBezTo>
                  <a:cubicBezTo>
                    <a:pt x="77" y="851"/>
                    <a:pt x="80" y="853"/>
                    <a:pt x="83" y="857"/>
                  </a:cubicBezTo>
                  <a:cubicBezTo>
                    <a:pt x="96" y="869"/>
                    <a:pt x="109" y="881"/>
                    <a:pt x="121" y="894"/>
                  </a:cubicBezTo>
                  <a:cubicBezTo>
                    <a:pt x="123" y="895"/>
                    <a:pt x="125" y="896"/>
                    <a:pt x="127" y="898"/>
                  </a:cubicBezTo>
                  <a:cubicBezTo>
                    <a:pt x="129" y="893"/>
                    <a:pt x="131" y="889"/>
                    <a:pt x="132" y="885"/>
                  </a:cubicBezTo>
                  <a:cubicBezTo>
                    <a:pt x="134" y="886"/>
                    <a:pt x="136" y="887"/>
                    <a:pt x="137" y="887"/>
                  </a:cubicBezTo>
                  <a:cubicBezTo>
                    <a:pt x="139" y="886"/>
                    <a:pt x="140" y="885"/>
                    <a:pt x="142" y="884"/>
                  </a:cubicBezTo>
                  <a:cubicBezTo>
                    <a:pt x="143" y="906"/>
                    <a:pt x="143" y="928"/>
                    <a:pt x="142" y="951"/>
                  </a:cubicBezTo>
                  <a:cubicBezTo>
                    <a:pt x="146" y="948"/>
                    <a:pt x="149" y="946"/>
                    <a:pt x="152" y="945"/>
                  </a:cubicBezTo>
                  <a:cubicBezTo>
                    <a:pt x="152" y="949"/>
                    <a:pt x="153" y="952"/>
                    <a:pt x="153" y="955"/>
                  </a:cubicBezTo>
                  <a:cubicBezTo>
                    <a:pt x="155" y="969"/>
                    <a:pt x="156" y="982"/>
                    <a:pt x="157" y="995"/>
                  </a:cubicBezTo>
                  <a:cubicBezTo>
                    <a:pt x="158" y="1009"/>
                    <a:pt x="158" y="1022"/>
                    <a:pt x="159" y="1036"/>
                  </a:cubicBezTo>
                  <a:cubicBezTo>
                    <a:pt x="161" y="1048"/>
                    <a:pt x="163" y="1061"/>
                    <a:pt x="165" y="1074"/>
                  </a:cubicBezTo>
                  <a:cubicBezTo>
                    <a:pt x="168" y="1092"/>
                    <a:pt x="171" y="1110"/>
                    <a:pt x="177" y="1127"/>
                  </a:cubicBezTo>
                  <a:cubicBezTo>
                    <a:pt x="182" y="1139"/>
                    <a:pt x="183" y="1151"/>
                    <a:pt x="183" y="1164"/>
                  </a:cubicBezTo>
                  <a:cubicBezTo>
                    <a:pt x="184" y="1177"/>
                    <a:pt x="184" y="1191"/>
                    <a:pt x="185" y="1204"/>
                  </a:cubicBezTo>
                  <a:cubicBezTo>
                    <a:pt x="186" y="1216"/>
                    <a:pt x="189" y="1227"/>
                    <a:pt x="190" y="1239"/>
                  </a:cubicBezTo>
                  <a:cubicBezTo>
                    <a:pt x="191" y="1253"/>
                    <a:pt x="191" y="1267"/>
                    <a:pt x="191" y="1281"/>
                  </a:cubicBezTo>
                  <a:cubicBezTo>
                    <a:pt x="192" y="1290"/>
                    <a:pt x="192" y="1299"/>
                    <a:pt x="193" y="1307"/>
                  </a:cubicBezTo>
                  <a:cubicBezTo>
                    <a:pt x="194" y="1316"/>
                    <a:pt x="196" y="1326"/>
                    <a:pt x="196" y="1335"/>
                  </a:cubicBezTo>
                  <a:cubicBezTo>
                    <a:pt x="196" y="1350"/>
                    <a:pt x="197" y="1364"/>
                    <a:pt x="199" y="1379"/>
                  </a:cubicBezTo>
                  <a:cubicBezTo>
                    <a:pt x="200" y="1384"/>
                    <a:pt x="201" y="1389"/>
                    <a:pt x="201" y="1394"/>
                  </a:cubicBezTo>
                  <a:cubicBezTo>
                    <a:pt x="202" y="1404"/>
                    <a:pt x="202" y="1414"/>
                    <a:pt x="203" y="1424"/>
                  </a:cubicBezTo>
                  <a:cubicBezTo>
                    <a:pt x="203" y="1431"/>
                    <a:pt x="204" y="1438"/>
                    <a:pt x="205" y="1445"/>
                  </a:cubicBezTo>
                  <a:cubicBezTo>
                    <a:pt x="206" y="1454"/>
                    <a:pt x="207" y="1463"/>
                    <a:pt x="208" y="1472"/>
                  </a:cubicBezTo>
                  <a:cubicBezTo>
                    <a:pt x="208" y="1480"/>
                    <a:pt x="209" y="1488"/>
                    <a:pt x="210" y="1495"/>
                  </a:cubicBezTo>
                  <a:cubicBezTo>
                    <a:pt x="210" y="1501"/>
                    <a:pt x="211" y="1507"/>
                    <a:pt x="211" y="1512"/>
                  </a:cubicBezTo>
                  <a:cubicBezTo>
                    <a:pt x="212" y="1521"/>
                    <a:pt x="214" y="1530"/>
                    <a:pt x="214" y="1539"/>
                  </a:cubicBezTo>
                  <a:cubicBezTo>
                    <a:pt x="214" y="1544"/>
                    <a:pt x="215" y="1549"/>
                    <a:pt x="217" y="1554"/>
                  </a:cubicBezTo>
                  <a:cubicBezTo>
                    <a:pt x="223" y="1569"/>
                    <a:pt x="230" y="1583"/>
                    <a:pt x="236" y="1598"/>
                  </a:cubicBezTo>
                  <a:cubicBezTo>
                    <a:pt x="238" y="1605"/>
                    <a:pt x="241" y="1610"/>
                    <a:pt x="249" y="1612"/>
                  </a:cubicBezTo>
                  <a:cubicBezTo>
                    <a:pt x="249" y="1612"/>
                    <a:pt x="249" y="1613"/>
                    <a:pt x="250" y="1614"/>
                  </a:cubicBezTo>
                  <a:cubicBezTo>
                    <a:pt x="251" y="1615"/>
                    <a:pt x="239" y="1632"/>
                    <a:pt x="238" y="1633"/>
                  </a:cubicBezTo>
                  <a:cubicBezTo>
                    <a:pt x="235" y="1637"/>
                    <a:pt x="232" y="1642"/>
                    <a:pt x="230" y="1646"/>
                  </a:cubicBezTo>
                  <a:cubicBezTo>
                    <a:pt x="226" y="1651"/>
                    <a:pt x="226" y="1656"/>
                    <a:pt x="225" y="1663"/>
                  </a:cubicBezTo>
                  <a:cubicBezTo>
                    <a:pt x="224" y="1667"/>
                    <a:pt x="223" y="1672"/>
                    <a:pt x="223" y="1676"/>
                  </a:cubicBezTo>
                  <a:cubicBezTo>
                    <a:pt x="223" y="1684"/>
                    <a:pt x="225" y="1692"/>
                    <a:pt x="230" y="1698"/>
                  </a:cubicBezTo>
                  <a:cubicBezTo>
                    <a:pt x="249" y="1723"/>
                    <a:pt x="294" y="1721"/>
                    <a:pt x="311" y="1696"/>
                  </a:cubicBezTo>
                  <a:cubicBezTo>
                    <a:pt x="327" y="1674"/>
                    <a:pt x="326" y="1642"/>
                    <a:pt x="326" y="1616"/>
                  </a:cubicBezTo>
                  <a:cubicBezTo>
                    <a:pt x="326" y="1616"/>
                    <a:pt x="326" y="1616"/>
                    <a:pt x="327" y="1616"/>
                  </a:cubicBezTo>
                  <a:cubicBezTo>
                    <a:pt x="326" y="1611"/>
                    <a:pt x="328" y="1607"/>
                    <a:pt x="331" y="1603"/>
                  </a:cubicBezTo>
                  <a:cubicBezTo>
                    <a:pt x="334" y="1598"/>
                    <a:pt x="335" y="1593"/>
                    <a:pt x="338" y="1589"/>
                  </a:cubicBezTo>
                  <a:cubicBezTo>
                    <a:pt x="343" y="1582"/>
                    <a:pt x="346" y="1573"/>
                    <a:pt x="347" y="1564"/>
                  </a:cubicBezTo>
                  <a:cubicBezTo>
                    <a:pt x="348" y="1558"/>
                    <a:pt x="347" y="1551"/>
                    <a:pt x="349" y="1544"/>
                  </a:cubicBezTo>
                  <a:cubicBezTo>
                    <a:pt x="351" y="1533"/>
                    <a:pt x="350" y="1522"/>
                    <a:pt x="348" y="1511"/>
                  </a:cubicBezTo>
                  <a:cubicBezTo>
                    <a:pt x="345" y="1496"/>
                    <a:pt x="341" y="1482"/>
                    <a:pt x="338" y="1467"/>
                  </a:cubicBezTo>
                  <a:cubicBezTo>
                    <a:pt x="332" y="1445"/>
                    <a:pt x="323" y="1423"/>
                    <a:pt x="315" y="1401"/>
                  </a:cubicBezTo>
                  <a:cubicBezTo>
                    <a:pt x="313" y="1398"/>
                    <a:pt x="313" y="1394"/>
                    <a:pt x="313" y="1391"/>
                  </a:cubicBezTo>
                  <a:cubicBezTo>
                    <a:pt x="312" y="1381"/>
                    <a:pt x="314" y="1371"/>
                    <a:pt x="313" y="1360"/>
                  </a:cubicBezTo>
                  <a:cubicBezTo>
                    <a:pt x="311" y="1349"/>
                    <a:pt x="313" y="1337"/>
                    <a:pt x="311" y="1326"/>
                  </a:cubicBezTo>
                  <a:cubicBezTo>
                    <a:pt x="310" y="1316"/>
                    <a:pt x="309" y="1307"/>
                    <a:pt x="307" y="1298"/>
                  </a:cubicBezTo>
                  <a:cubicBezTo>
                    <a:pt x="306" y="1294"/>
                    <a:pt x="306" y="1291"/>
                    <a:pt x="308" y="1287"/>
                  </a:cubicBezTo>
                  <a:cubicBezTo>
                    <a:pt x="310" y="1282"/>
                    <a:pt x="312" y="1277"/>
                    <a:pt x="312" y="1272"/>
                  </a:cubicBezTo>
                  <a:cubicBezTo>
                    <a:pt x="312" y="1259"/>
                    <a:pt x="311" y="1247"/>
                    <a:pt x="311" y="1235"/>
                  </a:cubicBezTo>
                  <a:cubicBezTo>
                    <a:pt x="311" y="1232"/>
                    <a:pt x="311" y="1230"/>
                    <a:pt x="312" y="1227"/>
                  </a:cubicBezTo>
                  <a:cubicBezTo>
                    <a:pt x="315" y="1215"/>
                    <a:pt x="314" y="1201"/>
                    <a:pt x="316" y="1189"/>
                  </a:cubicBezTo>
                  <a:cubicBezTo>
                    <a:pt x="317" y="1177"/>
                    <a:pt x="317" y="1165"/>
                    <a:pt x="317" y="1154"/>
                  </a:cubicBezTo>
                  <a:cubicBezTo>
                    <a:pt x="318" y="1153"/>
                    <a:pt x="318" y="1153"/>
                    <a:pt x="318" y="1152"/>
                  </a:cubicBezTo>
                  <a:cubicBezTo>
                    <a:pt x="319" y="1142"/>
                    <a:pt x="320" y="1132"/>
                    <a:pt x="321" y="1122"/>
                  </a:cubicBezTo>
                  <a:cubicBezTo>
                    <a:pt x="321" y="1107"/>
                    <a:pt x="322" y="1092"/>
                    <a:pt x="322" y="1077"/>
                  </a:cubicBezTo>
                  <a:cubicBezTo>
                    <a:pt x="322" y="1075"/>
                    <a:pt x="323" y="1073"/>
                    <a:pt x="323" y="1071"/>
                  </a:cubicBezTo>
                  <a:cubicBezTo>
                    <a:pt x="326" y="1060"/>
                    <a:pt x="328" y="1049"/>
                    <a:pt x="329" y="1037"/>
                  </a:cubicBezTo>
                  <a:cubicBezTo>
                    <a:pt x="330" y="1024"/>
                    <a:pt x="330" y="1011"/>
                    <a:pt x="335" y="998"/>
                  </a:cubicBezTo>
                  <a:cubicBezTo>
                    <a:pt x="335" y="996"/>
                    <a:pt x="335" y="995"/>
                    <a:pt x="335" y="993"/>
                  </a:cubicBezTo>
                  <a:cubicBezTo>
                    <a:pt x="337" y="988"/>
                    <a:pt x="336" y="983"/>
                    <a:pt x="339" y="978"/>
                  </a:cubicBezTo>
                  <a:cubicBezTo>
                    <a:pt x="342" y="986"/>
                    <a:pt x="345" y="994"/>
                    <a:pt x="348" y="1001"/>
                  </a:cubicBezTo>
                  <a:cubicBezTo>
                    <a:pt x="356" y="1025"/>
                    <a:pt x="364" y="1049"/>
                    <a:pt x="372" y="1073"/>
                  </a:cubicBezTo>
                  <a:cubicBezTo>
                    <a:pt x="384" y="1107"/>
                    <a:pt x="395" y="1142"/>
                    <a:pt x="403" y="1177"/>
                  </a:cubicBezTo>
                  <a:cubicBezTo>
                    <a:pt x="408" y="1197"/>
                    <a:pt x="413" y="1217"/>
                    <a:pt x="418" y="1237"/>
                  </a:cubicBezTo>
                  <a:cubicBezTo>
                    <a:pt x="418" y="1239"/>
                    <a:pt x="419" y="1241"/>
                    <a:pt x="418" y="1243"/>
                  </a:cubicBezTo>
                  <a:cubicBezTo>
                    <a:pt x="415" y="1253"/>
                    <a:pt x="417" y="1263"/>
                    <a:pt x="420" y="1273"/>
                  </a:cubicBezTo>
                  <a:cubicBezTo>
                    <a:pt x="426" y="1294"/>
                    <a:pt x="433" y="1315"/>
                    <a:pt x="440" y="1337"/>
                  </a:cubicBezTo>
                  <a:cubicBezTo>
                    <a:pt x="441" y="1340"/>
                    <a:pt x="441" y="1343"/>
                    <a:pt x="441" y="1346"/>
                  </a:cubicBezTo>
                  <a:cubicBezTo>
                    <a:pt x="439" y="1353"/>
                    <a:pt x="440" y="1360"/>
                    <a:pt x="441" y="1366"/>
                  </a:cubicBezTo>
                  <a:cubicBezTo>
                    <a:pt x="442" y="1377"/>
                    <a:pt x="442" y="1388"/>
                    <a:pt x="443" y="1399"/>
                  </a:cubicBezTo>
                  <a:cubicBezTo>
                    <a:pt x="443" y="1400"/>
                    <a:pt x="443" y="1402"/>
                    <a:pt x="443" y="1403"/>
                  </a:cubicBezTo>
                  <a:cubicBezTo>
                    <a:pt x="444" y="1413"/>
                    <a:pt x="446" y="1422"/>
                    <a:pt x="446" y="1432"/>
                  </a:cubicBezTo>
                  <a:cubicBezTo>
                    <a:pt x="446" y="1443"/>
                    <a:pt x="447" y="1455"/>
                    <a:pt x="449" y="1466"/>
                  </a:cubicBezTo>
                  <a:cubicBezTo>
                    <a:pt x="450" y="1474"/>
                    <a:pt x="450" y="1482"/>
                    <a:pt x="448" y="1489"/>
                  </a:cubicBezTo>
                  <a:cubicBezTo>
                    <a:pt x="445" y="1501"/>
                    <a:pt x="442" y="1513"/>
                    <a:pt x="440" y="1525"/>
                  </a:cubicBezTo>
                  <a:cubicBezTo>
                    <a:pt x="439" y="1536"/>
                    <a:pt x="435" y="1547"/>
                    <a:pt x="433" y="1558"/>
                  </a:cubicBezTo>
                  <a:cubicBezTo>
                    <a:pt x="432" y="1567"/>
                    <a:pt x="430" y="1576"/>
                    <a:pt x="430" y="1584"/>
                  </a:cubicBezTo>
                  <a:cubicBezTo>
                    <a:pt x="429" y="1602"/>
                    <a:pt x="430" y="1619"/>
                    <a:pt x="430" y="1636"/>
                  </a:cubicBezTo>
                  <a:cubicBezTo>
                    <a:pt x="430" y="1638"/>
                    <a:pt x="430" y="1641"/>
                    <a:pt x="430" y="1642"/>
                  </a:cubicBezTo>
                  <a:cubicBezTo>
                    <a:pt x="434" y="1647"/>
                    <a:pt x="439" y="1649"/>
                    <a:pt x="444" y="1649"/>
                  </a:cubicBezTo>
                  <a:cubicBezTo>
                    <a:pt x="462" y="1652"/>
                    <a:pt x="479" y="1653"/>
                    <a:pt x="497" y="1653"/>
                  </a:cubicBezTo>
                  <a:cubicBezTo>
                    <a:pt x="498" y="1653"/>
                    <a:pt x="500" y="1653"/>
                    <a:pt x="501" y="1652"/>
                  </a:cubicBezTo>
                  <a:cubicBezTo>
                    <a:pt x="504" y="1649"/>
                    <a:pt x="509" y="1649"/>
                    <a:pt x="513" y="1649"/>
                  </a:cubicBezTo>
                  <a:cubicBezTo>
                    <a:pt x="530" y="1650"/>
                    <a:pt x="546" y="1652"/>
                    <a:pt x="563" y="1655"/>
                  </a:cubicBezTo>
                  <a:cubicBezTo>
                    <a:pt x="578" y="1659"/>
                    <a:pt x="594" y="1662"/>
                    <a:pt x="610" y="1664"/>
                  </a:cubicBezTo>
                  <a:cubicBezTo>
                    <a:pt x="616" y="1664"/>
                    <a:pt x="623" y="1664"/>
                    <a:pt x="630" y="1664"/>
                  </a:cubicBezTo>
                  <a:cubicBezTo>
                    <a:pt x="636" y="1664"/>
                    <a:pt x="642" y="1663"/>
                    <a:pt x="648" y="1663"/>
                  </a:cubicBezTo>
                  <a:cubicBezTo>
                    <a:pt x="651" y="1663"/>
                    <a:pt x="653" y="1664"/>
                    <a:pt x="655" y="1664"/>
                  </a:cubicBezTo>
                  <a:cubicBezTo>
                    <a:pt x="669" y="1663"/>
                    <a:pt x="682" y="1661"/>
                    <a:pt x="694" y="1657"/>
                  </a:cubicBezTo>
                  <a:cubicBezTo>
                    <a:pt x="697" y="1656"/>
                    <a:pt x="699" y="1655"/>
                    <a:pt x="702" y="1653"/>
                  </a:cubicBezTo>
                  <a:cubicBezTo>
                    <a:pt x="716" y="1644"/>
                    <a:pt x="715" y="1630"/>
                    <a:pt x="709" y="1620"/>
                  </a:cubicBezTo>
                  <a:cubicBezTo>
                    <a:pt x="708" y="1619"/>
                    <a:pt x="707" y="1619"/>
                    <a:pt x="706" y="1619"/>
                  </a:cubicBezTo>
                  <a:close/>
                  <a:moveTo>
                    <a:pt x="133" y="680"/>
                  </a:moveTo>
                  <a:cubicBezTo>
                    <a:pt x="130" y="684"/>
                    <a:pt x="127" y="688"/>
                    <a:pt x="124" y="691"/>
                  </a:cubicBezTo>
                  <a:cubicBezTo>
                    <a:pt x="124" y="691"/>
                    <a:pt x="124" y="690"/>
                    <a:pt x="123" y="689"/>
                  </a:cubicBezTo>
                  <a:cubicBezTo>
                    <a:pt x="123" y="688"/>
                    <a:pt x="123" y="688"/>
                    <a:pt x="123" y="687"/>
                  </a:cubicBezTo>
                  <a:cubicBezTo>
                    <a:pt x="124" y="677"/>
                    <a:pt x="123" y="668"/>
                    <a:pt x="113" y="663"/>
                  </a:cubicBezTo>
                  <a:cubicBezTo>
                    <a:pt x="113" y="657"/>
                    <a:pt x="113" y="652"/>
                    <a:pt x="113" y="647"/>
                  </a:cubicBezTo>
                  <a:cubicBezTo>
                    <a:pt x="114" y="640"/>
                    <a:pt x="113" y="634"/>
                    <a:pt x="109" y="628"/>
                  </a:cubicBezTo>
                  <a:cubicBezTo>
                    <a:pt x="107" y="625"/>
                    <a:pt x="107" y="623"/>
                    <a:pt x="108" y="619"/>
                  </a:cubicBezTo>
                  <a:cubicBezTo>
                    <a:pt x="110" y="614"/>
                    <a:pt x="114" y="608"/>
                    <a:pt x="113" y="602"/>
                  </a:cubicBezTo>
                  <a:cubicBezTo>
                    <a:pt x="113" y="601"/>
                    <a:pt x="113" y="600"/>
                    <a:pt x="114" y="600"/>
                  </a:cubicBezTo>
                  <a:cubicBezTo>
                    <a:pt x="118" y="594"/>
                    <a:pt x="117" y="587"/>
                    <a:pt x="117" y="581"/>
                  </a:cubicBezTo>
                  <a:cubicBezTo>
                    <a:pt x="116" y="577"/>
                    <a:pt x="118" y="573"/>
                    <a:pt x="122" y="571"/>
                  </a:cubicBezTo>
                  <a:cubicBezTo>
                    <a:pt x="120" y="577"/>
                    <a:pt x="125" y="581"/>
                    <a:pt x="127" y="585"/>
                  </a:cubicBezTo>
                  <a:cubicBezTo>
                    <a:pt x="131" y="593"/>
                    <a:pt x="133" y="600"/>
                    <a:pt x="133" y="608"/>
                  </a:cubicBezTo>
                  <a:cubicBezTo>
                    <a:pt x="133" y="623"/>
                    <a:pt x="132" y="637"/>
                    <a:pt x="133" y="651"/>
                  </a:cubicBezTo>
                  <a:cubicBezTo>
                    <a:pt x="134" y="661"/>
                    <a:pt x="132" y="671"/>
                    <a:pt x="133" y="680"/>
                  </a:cubicBezTo>
                  <a:close/>
                  <a:moveTo>
                    <a:pt x="702" y="1652"/>
                  </a:moveTo>
                  <a:cubicBezTo>
                    <a:pt x="702" y="1653"/>
                    <a:pt x="702" y="1653"/>
                    <a:pt x="702" y="1653"/>
                  </a:cubicBezTo>
                  <a:cubicBezTo>
                    <a:pt x="702" y="1653"/>
                    <a:pt x="702" y="1653"/>
                    <a:pt x="702" y="16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7">
              <a:extLst>
                <a:ext uri="{FF2B5EF4-FFF2-40B4-BE49-F238E27FC236}">
                  <a16:creationId xmlns:a16="http://schemas.microsoft.com/office/drawing/2014/main" id="{5954CA66-ACB5-4032-B2A5-67D4E397A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6838" y="2220913"/>
              <a:ext cx="1058862" cy="3076575"/>
            </a:xfrm>
            <a:custGeom>
              <a:avLst/>
              <a:gdLst>
                <a:gd name="T0" fmla="*/ 528 w 567"/>
                <a:gd name="T1" fmla="*/ 442 h 1649"/>
                <a:gd name="T2" fmla="*/ 519 w 567"/>
                <a:gd name="T3" fmla="*/ 315 h 1649"/>
                <a:gd name="T4" fmla="*/ 368 w 567"/>
                <a:gd name="T5" fmla="*/ 248 h 1649"/>
                <a:gd name="T6" fmla="*/ 372 w 567"/>
                <a:gd name="T7" fmla="*/ 170 h 1649"/>
                <a:gd name="T8" fmla="*/ 370 w 567"/>
                <a:gd name="T9" fmla="*/ 82 h 1649"/>
                <a:gd name="T10" fmla="*/ 335 w 567"/>
                <a:gd name="T11" fmla="*/ 17 h 1649"/>
                <a:gd name="T12" fmla="*/ 270 w 567"/>
                <a:gd name="T13" fmla="*/ 8 h 1649"/>
                <a:gd name="T14" fmla="*/ 214 w 567"/>
                <a:gd name="T15" fmla="*/ 66 h 1649"/>
                <a:gd name="T16" fmla="*/ 217 w 567"/>
                <a:gd name="T17" fmla="*/ 101 h 1649"/>
                <a:gd name="T18" fmla="*/ 209 w 567"/>
                <a:gd name="T19" fmla="*/ 139 h 1649"/>
                <a:gd name="T20" fmla="*/ 221 w 567"/>
                <a:gd name="T21" fmla="*/ 235 h 1649"/>
                <a:gd name="T22" fmla="*/ 102 w 567"/>
                <a:gd name="T23" fmla="*/ 284 h 1649"/>
                <a:gd name="T24" fmla="*/ 39 w 567"/>
                <a:gd name="T25" fmla="*/ 382 h 1649"/>
                <a:gd name="T26" fmla="*/ 9 w 567"/>
                <a:gd name="T27" fmla="*/ 549 h 1649"/>
                <a:gd name="T28" fmla="*/ 1 w 567"/>
                <a:gd name="T29" fmla="*/ 620 h 1649"/>
                <a:gd name="T30" fmla="*/ 15 w 567"/>
                <a:gd name="T31" fmla="*/ 716 h 1649"/>
                <a:gd name="T32" fmla="*/ 66 w 567"/>
                <a:gd name="T33" fmla="*/ 823 h 1649"/>
                <a:gd name="T34" fmla="*/ 84 w 567"/>
                <a:gd name="T35" fmla="*/ 879 h 1649"/>
                <a:gd name="T36" fmla="*/ 86 w 567"/>
                <a:gd name="T37" fmla="*/ 981 h 1649"/>
                <a:gd name="T38" fmla="*/ 90 w 567"/>
                <a:gd name="T39" fmla="*/ 1111 h 1649"/>
                <a:gd name="T40" fmla="*/ 98 w 567"/>
                <a:gd name="T41" fmla="*/ 1200 h 1649"/>
                <a:gd name="T42" fmla="*/ 105 w 567"/>
                <a:gd name="T43" fmla="*/ 1330 h 1649"/>
                <a:gd name="T44" fmla="*/ 118 w 567"/>
                <a:gd name="T45" fmla="*/ 1447 h 1649"/>
                <a:gd name="T46" fmla="*/ 95 w 567"/>
                <a:gd name="T47" fmla="*/ 1503 h 1649"/>
                <a:gd name="T48" fmla="*/ 85 w 567"/>
                <a:gd name="T49" fmla="*/ 1559 h 1649"/>
                <a:gd name="T50" fmla="*/ 58 w 567"/>
                <a:gd name="T51" fmla="*/ 1586 h 1649"/>
                <a:gd name="T52" fmla="*/ 48 w 567"/>
                <a:gd name="T53" fmla="*/ 1599 h 1649"/>
                <a:gd name="T54" fmla="*/ 61 w 567"/>
                <a:gd name="T55" fmla="*/ 1637 h 1649"/>
                <a:gd name="T56" fmla="*/ 180 w 567"/>
                <a:gd name="T57" fmla="*/ 1602 h 1649"/>
                <a:gd name="T58" fmla="*/ 215 w 567"/>
                <a:gd name="T59" fmla="*/ 1569 h 1649"/>
                <a:gd name="T60" fmla="*/ 215 w 567"/>
                <a:gd name="T61" fmla="*/ 1534 h 1649"/>
                <a:gd name="T62" fmla="*/ 229 w 567"/>
                <a:gd name="T63" fmla="*/ 1433 h 1649"/>
                <a:gd name="T64" fmla="*/ 241 w 567"/>
                <a:gd name="T65" fmla="*/ 1318 h 1649"/>
                <a:gd name="T66" fmla="*/ 260 w 567"/>
                <a:gd name="T67" fmla="*/ 1193 h 1649"/>
                <a:gd name="T68" fmla="*/ 272 w 567"/>
                <a:gd name="T69" fmla="*/ 1102 h 1649"/>
                <a:gd name="T70" fmla="*/ 286 w 567"/>
                <a:gd name="T71" fmla="*/ 998 h 1649"/>
                <a:gd name="T72" fmla="*/ 297 w 567"/>
                <a:gd name="T73" fmla="*/ 1101 h 1649"/>
                <a:gd name="T74" fmla="*/ 307 w 567"/>
                <a:gd name="T75" fmla="*/ 1190 h 1649"/>
                <a:gd name="T76" fmla="*/ 332 w 567"/>
                <a:gd name="T77" fmla="*/ 1318 h 1649"/>
                <a:gd name="T78" fmla="*/ 335 w 567"/>
                <a:gd name="T79" fmla="*/ 1472 h 1649"/>
                <a:gd name="T80" fmla="*/ 355 w 567"/>
                <a:gd name="T81" fmla="*/ 1543 h 1649"/>
                <a:gd name="T82" fmla="*/ 360 w 567"/>
                <a:gd name="T83" fmla="*/ 1592 h 1649"/>
                <a:gd name="T84" fmla="*/ 393 w 567"/>
                <a:gd name="T85" fmla="*/ 1622 h 1649"/>
                <a:gd name="T86" fmla="*/ 492 w 567"/>
                <a:gd name="T87" fmla="*/ 1637 h 1649"/>
                <a:gd name="T88" fmla="*/ 491 w 567"/>
                <a:gd name="T89" fmla="*/ 1599 h 1649"/>
                <a:gd name="T90" fmla="*/ 465 w 567"/>
                <a:gd name="T91" fmla="*/ 1561 h 1649"/>
                <a:gd name="T92" fmla="*/ 466 w 567"/>
                <a:gd name="T93" fmla="*/ 1473 h 1649"/>
                <a:gd name="T94" fmla="*/ 465 w 567"/>
                <a:gd name="T95" fmla="*/ 1381 h 1649"/>
                <a:gd name="T96" fmla="*/ 482 w 567"/>
                <a:gd name="T97" fmla="*/ 1244 h 1649"/>
                <a:gd name="T98" fmla="*/ 485 w 567"/>
                <a:gd name="T99" fmla="*/ 1151 h 1649"/>
                <a:gd name="T100" fmla="*/ 485 w 567"/>
                <a:gd name="T101" fmla="*/ 925 h 1649"/>
                <a:gd name="T102" fmla="*/ 485 w 567"/>
                <a:gd name="T103" fmla="*/ 867 h 1649"/>
                <a:gd name="T104" fmla="*/ 525 w 567"/>
                <a:gd name="T105" fmla="*/ 834 h 1649"/>
                <a:gd name="T106" fmla="*/ 563 w 567"/>
                <a:gd name="T107" fmla="*/ 629 h 1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67" h="1649">
                  <a:moveTo>
                    <a:pt x="563" y="629"/>
                  </a:moveTo>
                  <a:cubicBezTo>
                    <a:pt x="560" y="609"/>
                    <a:pt x="555" y="591"/>
                    <a:pt x="551" y="571"/>
                  </a:cubicBezTo>
                  <a:cubicBezTo>
                    <a:pt x="547" y="552"/>
                    <a:pt x="549" y="533"/>
                    <a:pt x="545" y="514"/>
                  </a:cubicBezTo>
                  <a:cubicBezTo>
                    <a:pt x="541" y="490"/>
                    <a:pt x="533" y="467"/>
                    <a:pt x="528" y="442"/>
                  </a:cubicBezTo>
                  <a:cubicBezTo>
                    <a:pt x="524" y="417"/>
                    <a:pt x="530" y="396"/>
                    <a:pt x="531" y="370"/>
                  </a:cubicBezTo>
                  <a:cubicBezTo>
                    <a:pt x="531" y="359"/>
                    <a:pt x="530" y="348"/>
                    <a:pt x="529" y="337"/>
                  </a:cubicBezTo>
                  <a:cubicBezTo>
                    <a:pt x="529" y="333"/>
                    <a:pt x="528" y="329"/>
                    <a:pt x="527" y="325"/>
                  </a:cubicBezTo>
                  <a:cubicBezTo>
                    <a:pt x="525" y="320"/>
                    <a:pt x="523" y="317"/>
                    <a:pt x="519" y="315"/>
                  </a:cubicBezTo>
                  <a:cubicBezTo>
                    <a:pt x="514" y="313"/>
                    <a:pt x="510" y="311"/>
                    <a:pt x="506" y="310"/>
                  </a:cubicBezTo>
                  <a:cubicBezTo>
                    <a:pt x="487" y="302"/>
                    <a:pt x="468" y="294"/>
                    <a:pt x="449" y="286"/>
                  </a:cubicBezTo>
                  <a:cubicBezTo>
                    <a:pt x="428" y="278"/>
                    <a:pt x="407" y="269"/>
                    <a:pt x="387" y="260"/>
                  </a:cubicBezTo>
                  <a:cubicBezTo>
                    <a:pt x="380" y="257"/>
                    <a:pt x="373" y="254"/>
                    <a:pt x="368" y="248"/>
                  </a:cubicBezTo>
                  <a:cubicBezTo>
                    <a:pt x="364" y="243"/>
                    <a:pt x="360" y="238"/>
                    <a:pt x="356" y="233"/>
                  </a:cubicBezTo>
                  <a:cubicBezTo>
                    <a:pt x="357" y="231"/>
                    <a:pt x="357" y="230"/>
                    <a:pt x="358" y="228"/>
                  </a:cubicBezTo>
                  <a:cubicBezTo>
                    <a:pt x="361" y="219"/>
                    <a:pt x="364" y="209"/>
                    <a:pt x="367" y="200"/>
                  </a:cubicBezTo>
                  <a:cubicBezTo>
                    <a:pt x="370" y="190"/>
                    <a:pt x="369" y="179"/>
                    <a:pt x="372" y="170"/>
                  </a:cubicBezTo>
                  <a:cubicBezTo>
                    <a:pt x="375" y="161"/>
                    <a:pt x="376" y="153"/>
                    <a:pt x="377" y="144"/>
                  </a:cubicBezTo>
                  <a:cubicBezTo>
                    <a:pt x="378" y="135"/>
                    <a:pt x="378" y="127"/>
                    <a:pt x="372" y="119"/>
                  </a:cubicBezTo>
                  <a:cubicBezTo>
                    <a:pt x="371" y="108"/>
                    <a:pt x="370" y="98"/>
                    <a:pt x="369" y="87"/>
                  </a:cubicBezTo>
                  <a:cubicBezTo>
                    <a:pt x="369" y="85"/>
                    <a:pt x="370" y="83"/>
                    <a:pt x="370" y="82"/>
                  </a:cubicBezTo>
                  <a:cubicBezTo>
                    <a:pt x="370" y="77"/>
                    <a:pt x="371" y="72"/>
                    <a:pt x="370" y="68"/>
                  </a:cubicBezTo>
                  <a:cubicBezTo>
                    <a:pt x="368" y="55"/>
                    <a:pt x="362" y="44"/>
                    <a:pt x="356" y="33"/>
                  </a:cubicBezTo>
                  <a:cubicBezTo>
                    <a:pt x="356" y="31"/>
                    <a:pt x="355" y="30"/>
                    <a:pt x="353" y="29"/>
                  </a:cubicBezTo>
                  <a:cubicBezTo>
                    <a:pt x="347" y="25"/>
                    <a:pt x="342" y="20"/>
                    <a:pt x="335" y="17"/>
                  </a:cubicBezTo>
                  <a:cubicBezTo>
                    <a:pt x="326" y="14"/>
                    <a:pt x="317" y="13"/>
                    <a:pt x="309" y="7"/>
                  </a:cubicBezTo>
                  <a:cubicBezTo>
                    <a:pt x="303" y="3"/>
                    <a:pt x="295" y="2"/>
                    <a:pt x="288" y="0"/>
                  </a:cubicBezTo>
                  <a:cubicBezTo>
                    <a:pt x="286" y="3"/>
                    <a:pt x="284" y="5"/>
                    <a:pt x="282" y="8"/>
                  </a:cubicBezTo>
                  <a:cubicBezTo>
                    <a:pt x="278" y="8"/>
                    <a:pt x="274" y="8"/>
                    <a:pt x="270" y="8"/>
                  </a:cubicBezTo>
                  <a:cubicBezTo>
                    <a:pt x="262" y="9"/>
                    <a:pt x="254" y="8"/>
                    <a:pt x="250" y="17"/>
                  </a:cubicBezTo>
                  <a:cubicBezTo>
                    <a:pt x="249" y="19"/>
                    <a:pt x="247" y="19"/>
                    <a:pt x="245" y="20"/>
                  </a:cubicBezTo>
                  <a:cubicBezTo>
                    <a:pt x="237" y="25"/>
                    <a:pt x="229" y="31"/>
                    <a:pt x="225" y="39"/>
                  </a:cubicBezTo>
                  <a:cubicBezTo>
                    <a:pt x="221" y="48"/>
                    <a:pt x="220" y="58"/>
                    <a:pt x="214" y="66"/>
                  </a:cubicBezTo>
                  <a:cubicBezTo>
                    <a:pt x="214" y="66"/>
                    <a:pt x="214" y="67"/>
                    <a:pt x="214" y="67"/>
                  </a:cubicBezTo>
                  <a:cubicBezTo>
                    <a:pt x="214" y="73"/>
                    <a:pt x="214" y="80"/>
                    <a:pt x="215" y="86"/>
                  </a:cubicBezTo>
                  <a:cubicBezTo>
                    <a:pt x="215" y="89"/>
                    <a:pt x="216" y="91"/>
                    <a:pt x="216" y="93"/>
                  </a:cubicBezTo>
                  <a:cubicBezTo>
                    <a:pt x="216" y="96"/>
                    <a:pt x="217" y="99"/>
                    <a:pt x="217" y="101"/>
                  </a:cubicBezTo>
                  <a:cubicBezTo>
                    <a:pt x="217" y="104"/>
                    <a:pt x="218" y="107"/>
                    <a:pt x="217" y="108"/>
                  </a:cubicBezTo>
                  <a:cubicBezTo>
                    <a:pt x="215" y="111"/>
                    <a:pt x="216" y="112"/>
                    <a:pt x="216" y="114"/>
                  </a:cubicBezTo>
                  <a:cubicBezTo>
                    <a:pt x="217" y="118"/>
                    <a:pt x="216" y="122"/>
                    <a:pt x="216" y="126"/>
                  </a:cubicBezTo>
                  <a:cubicBezTo>
                    <a:pt x="210" y="128"/>
                    <a:pt x="209" y="134"/>
                    <a:pt x="209" y="139"/>
                  </a:cubicBezTo>
                  <a:cubicBezTo>
                    <a:pt x="209" y="156"/>
                    <a:pt x="214" y="171"/>
                    <a:pt x="224" y="185"/>
                  </a:cubicBezTo>
                  <a:cubicBezTo>
                    <a:pt x="224" y="191"/>
                    <a:pt x="223" y="198"/>
                    <a:pt x="224" y="204"/>
                  </a:cubicBezTo>
                  <a:cubicBezTo>
                    <a:pt x="225" y="211"/>
                    <a:pt x="227" y="218"/>
                    <a:pt x="229" y="225"/>
                  </a:cubicBezTo>
                  <a:cubicBezTo>
                    <a:pt x="226" y="228"/>
                    <a:pt x="223" y="232"/>
                    <a:pt x="221" y="235"/>
                  </a:cubicBezTo>
                  <a:cubicBezTo>
                    <a:pt x="215" y="245"/>
                    <a:pt x="206" y="250"/>
                    <a:pt x="196" y="254"/>
                  </a:cubicBezTo>
                  <a:cubicBezTo>
                    <a:pt x="182" y="260"/>
                    <a:pt x="167" y="264"/>
                    <a:pt x="153" y="269"/>
                  </a:cubicBezTo>
                  <a:cubicBezTo>
                    <a:pt x="142" y="273"/>
                    <a:pt x="131" y="277"/>
                    <a:pt x="120" y="281"/>
                  </a:cubicBezTo>
                  <a:cubicBezTo>
                    <a:pt x="114" y="283"/>
                    <a:pt x="108" y="283"/>
                    <a:pt x="102" y="284"/>
                  </a:cubicBezTo>
                  <a:cubicBezTo>
                    <a:pt x="90" y="287"/>
                    <a:pt x="78" y="289"/>
                    <a:pt x="66" y="294"/>
                  </a:cubicBezTo>
                  <a:cubicBezTo>
                    <a:pt x="61" y="296"/>
                    <a:pt x="58" y="299"/>
                    <a:pt x="56" y="303"/>
                  </a:cubicBezTo>
                  <a:cubicBezTo>
                    <a:pt x="49" y="318"/>
                    <a:pt x="44" y="334"/>
                    <a:pt x="45" y="351"/>
                  </a:cubicBezTo>
                  <a:cubicBezTo>
                    <a:pt x="45" y="362"/>
                    <a:pt x="41" y="371"/>
                    <a:pt x="39" y="382"/>
                  </a:cubicBezTo>
                  <a:cubicBezTo>
                    <a:pt x="37" y="390"/>
                    <a:pt x="39" y="397"/>
                    <a:pt x="38" y="405"/>
                  </a:cubicBezTo>
                  <a:cubicBezTo>
                    <a:pt x="34" y="436"/>
                    <a:pt x="24" y="467"/>
                    <a:pt x="18" y="498"/>
                  </a:cubicBezTo>
                  <a:cubicBezTo>
                    <a:pt x="16" y="510"/>
                    <a:pt x="14" y="521"/>
                    <a:pt x="12" y="532"/>
                  </a:cubicBezTo>
                  <a:cubicBezTo>
                    <a:pt x="11" y="538"/>
                    <a:pt x="9" y="544"/>
                    <a:pt x="9" y="549"/>
                  </a:cubicBezTo>
                  <a:cubicBezTo>
                    <a:pt x="8" y="554"/>
                    <a:pt x="8" y="559"/>
                    <a:pt x="6" y="563"/>
                  </a:cubicBezTo>
                  <a:cubicBezTo>
                    <a:pt x="5" y="566"/>
                    <a:pt x="4" y="570"/>
                    <a:pt x="4" y="574"/>
                  </a:cubicBezTo>
                  <a:cubicBezTo>
                    <a:pt x="4" y="584"/>
                    <a:pt x="2" y="593"/>
                    <a:pt x="1" y="603"/>
                  </a:cubicBezTo>
                  <a:cubicBezTo>
                    <a:pt x="0" y="609"/>
                    <a:pt x="0" y="614"/>
                    <a:pt x="1" y="620"/>
                  </a:cubicBezTo>
                  <a:cubicBezTo>
                    <a:pt x="2" y="627"/>
                    <a:pt x="2" y="635"/>
                    <a:pt x="1" y="643"/>
                  </a:cubicBezTo>
                  <a:cubicBezTo>
                    <a:pt x="0" y="651"/>
                    <a:pt x="0" y="660"/>
                    <a:pt x="1" y="668"/>
                  </a:cubicBezTo>
                  <a:cubicBezTo>
                    <a:pt x="3" y="680"/>
                    <a:pt x="7" y="691"/>
                    <a:pt x="10" y="702"/>
                  </a:cubicBezTo>
                  <a:cubicBezTo>
                    <a:pt x="11" y="707"/>
                    <a:pt x="14" y="711"/>
                    <a:pt x="15" y="716"/>
                  </a:cubicBezTo>
                  <a:cubicBezTo>
                    <a:pt x="23" y="746"/>
                    <a:pt x="30" y="776"/>
                    <a:pt x="38" y="806"/>
                  </a:cubicBezTo>
                  <a:cubicBezTo>
                    <a:pt x="40" y="812"/>
                    <a:pt x="42" y="819"/>
                    <a:pt x="45" y="824"/>
                  </a:cubicBezTo>
                  <a:cubicBezTo>
                    <a:pt x="51" y="828"/>
                    <a:pt x="51" y="821"/>
                    <a:pt x="53" y="821"/>
                  </a:cubicBezTo>
                  <a:cubicBezTo>
                    <a:pt x="58" y="822"/>
                    <a:pt x="62" y="822"/>
                    <a:pt x="66" y="823"/>
                  </a:cubicBezTo>
                  <a:cubicBezTo>
                    <a:pt x="67" y="825"/>
                    <a:pt x="69" y="828"/>
                    <a:pt x="69" y="831"/>
                  </a:cubicBezTo>
                  <a:cubicBezTo>
                    <a:pt x="71" y="838"/>
                    <a:pt x="74" y="845"/>
                    <a:pt x="75" y="853"/>
                  </a:cubicBezTo>
                  <a:cubicBezTo>
                    <a:pt x="77" y="858"/>
                    <a:pt x="78" y="863"/>
                    <a:pt x="81" y="868"/>
                  </a:cubicBezTo>
                  <a:cubicBezTo>
                    <a:pt x="83" y="871"/>
                    <a:pt x="84" y="875"/>
                    <a:pt x="84" y="879"/>
                  </a:cubicBezTo>
                  <a:cubicBezTo>
                    <a:pt x="84" y="883"/>
                    <a:pt x="84" y="888"/>
                    <a:pt x="84" y="893"/>
                  </a:cubicBezTo>
                  <a:cubicBezTo>
                    <a:pt x="85" y="906"/>
                    <a:pt x="86" y="919"/>
                    <a:pt x="86" y="932"/>
                  </a:cubicBezTo>
                  <a:cubicBezTo>
                    <a:pt x="87" y="946"/>
                    <a:pt x="86" y="961"/>
                    <a:pt x="85" y="975"/>
                  </a:cubicBezTo>
                  <a:cubicBezTo>
                    <a:pt x="85" y="977"/>
                    <a:pt x="85" y="979"/>
                    <a:pt x="86" y="981"/>
                  </a:cubicBezTo>
                  <a:cubicBezTo>
                    <a:pt x="88" y="994"/>
                    <a:pt x="89" y="1007"/>
                    <a:pt x="89" y="1020"/>
                  </a:cubicBezTo>
                  <a:cubicBezTo>
                    <a:pt x="89" y="1023"/>
                    <a:pt x="88" y="1025"/>
                    <a:pt x="89" y="1028"/>
                  </a:cubicBezTo>
                  <a:cubicBezTo>
                    <a:pt x="91" y="1044"/>
                    <a:pt x="92" y="1060"/>
                    <a:pt x="92" y="1075"/>
                  </a:cubicBezTo>
                  <a:cubicBezTo>
                    <a:pt x="91" y="1087"/>
                    <a:pt x="90" y="1099"/>
                    <a:pt x="90" y="1111"/>
                  </a:cubicBezTo>
                  <a:cubicBezTo>
                    <a:pt x="91" y="1116"/>
                    <a:pt x="92" y="1122"/>
                    <a:pt x="92" y="1127"/>
                  </a:cubicBezTo>
                  <a:cubicBezTo>
                    <a:pt x="92" y="1140"/>
                    <a:pt x="93" y="1154"/>
                    <a:pt x="94" y="1167"/>
                  </a:cubicBezTo>
                  <a:cubicBezTo>
                    <a:pt x="94" y="1168"/>
                    <a:pt x="94" y="1169"/>
                    <a:pt x="94" y="1170"/>
                  </a:cubicBezTo>
                  <a:cubicBezTo>
                    <a:pt x="95" y="1180"/>
                    <a:pt x="97" y="1190"/>
                    <a:pt x="98" y="1200"/>
                  </a:cubicBezTo>
                  <a:cubicBezTo>
                    <a:pt x="99" y="1214"/>
                    <a:pt x="99" y="1228"/>
                    <a:pt x="100" y="1242"/>
                  </a:cubicBezTo>
                  <a:cubicBezTo>
                    <a:pt x="100" y="1245"/>
                    <a:pt x="100" y="1248"/>
                    <a:pt x="100" y="1251"/>
                  </a:cubicBezTo>
                  <a:cubicBezTo>
                    <a:pt x="101" y="1267"/>
                    <a:pt x="102" y="1282"/>
                    <a:pt x="103" y="1298"/>
                  </a:cubicBezTo>
                  <a:cubicBezTo>
                    <a:pt x="104" y="1309"/>
                    <a:pt x="104" y="1319"/>
                    <a:pt x="105" y="1330"/>
                  </a:cubicBezTo>
                  <a:cubicBezTo>
                    <a:pt x="106" y="1346"/>
                    <a:pt x="106" y="1361"/>
                    <a:pt x="108" y="1376"/>
                  </a:cubicBezTo>
                  <a:cubicBezTo>
                    <a:pt x="109" y="1386"/>
                    <a:pt x="110" y="1396"/>
                    <a:pt x="112" y="1405"/>
                  </a:cubicBezTo>
                  <a:cubicBezTo>
                    <a:pt x="114" y="1417"/>
                    <a:pt x="117" y="1428"/>
                    <a:pt x="119" y="1440"/>
                  </a:cubicBezTo>
                  <a:cubicBezTo>
                    <a:pt x="120" y="1442"/>
                    <a:pt x="119" y="1445"/>
                    <a:pt x="118" y="1447"/>
                  </a:cubicBezTo>
                  <a:cubicBezTo>
                    <a:pt x="117" y="1451"/>
                    <a:pt x="115" y="1455"/>
                    <a:pt x="113" y="1459"/>
                  </a:cubicBezTo>
                  <a:cubicBezTo>
                    <a:pt x="111" y="1466"/>
                    <a:pt x="107" y="1472"/>
                    <a:pt x="100" y="1475"/>
                  </a:cubicBezTo>
                  <a:cubicBezTo>
                    <a:pt x="93" y="1478"/>
                    <a:pt x="91" y="1486"/>
                    <a:pt x="93" y="1492"/>
                  </a:cubicBezTo>
                  <a:cubicBezTo>
                    <a:pt x="94" y="1496"/>
                    <a:pt x="95" y="1499"/>
                    <a:pt x="95" y="1503"/>
                  </a:cubicBezTo>
                  <a:cubicBezTo>
                    <a:pt x="96" y="1510"/>
                    <a:pt x="96" y="1518"/>
                    <a:pt x="97" y="1526"/>
                  </a:cubicBezTo>
                  <a:cubicBezTo>
                    <a:pt x="97" y="1530"/>
                    <a:pt x="98" y="1534"/>
                    <a:pt x="98" y="1538"/>
                  </a:cubicBezTo>
                  <a:cubicBezTo>
                    <a:pt x="99" y="1540"/>
                    <a:pt x="100" y="1542"/>
                    <a:pt x="100" y="1546"/>
                  </a:cubicBezTo>
                  <a:cubicBezTo>
                    <a:pt x="96" y="1550"/>
                    <a:pt x="90" y="1555"/>
                    <a:pt x="85" y="1559"/>
                  </a:cubicBezTo>
                  <a:cubicBezTo>
                    <a:pt x="82" y="1562"/>
                    <a:pt x="79" y="1563"/>
                    <a:pt x="80" y="1567"/>
                  </a:cubicBezTo>
                  <a:cubicBezTo>
                    <a:pt x="77" y="1569"/>
                    <a:pt x="75" y="1571"/>
                    <a:pt x="72" y="1573"/>
                  </a:cubicBezTo>
                  <a:cubicBezTo>
                    <a:pt x="70" y="1575"/>
                    <a:pt x="67" y="1579"/>
                    <a:pt x="64" y="1580"/>
                  </a:cubicBezTo>
                  <a:cubicBezTo>
                    <a:pt x="61" y="1580"/>
                    <a:pt x="59" y="1583"/>
                    <a:pt x="58" y="1586"/>
                  </a:cubicBezTo>
                  <a:cubicBezTo>
                    <a:pt x="57" y="1587"/>
                    <a:pt x="56" y="1589"/>
                    <a:pt x="55" y="1590"/>
                  </a:cubicBezTo>
                  <a:cubicBezTo>
                    <a:pt x="55" y="1591"/>
                    <a:pt x="54" y="1591"/>
                    <a:pt x="53" y="1592"/>
                  </a:cubicBezTo>
                  <a:cubicBezTo>
                    <a:pt x="53" y="1592"/>
                    <a:pt x="52" y="1593"/>
                    <a:pt x="51" y="1593"/>
                  </a:cubicBezTo>
                  <a:cubicBezTo>
                    <a:pt x="49" y="1595"/>
                    <a:pt x="48" y="1597"/>
                    <a:pt x="48" y="1599"/>
                  </a:cubicBezTo>
                  <a:cubicBezTo>
                    <a:pt x="48" y="1605"/>
                    <a:pt x="45" y="1609"/>
                    <a:pt x="42" y="1612"/>
                  </a:cubicBezTo>
                  <a:cubicBezTo>
                    <a:pt x="38" y="1616"/>
                    <a:pt x="39" y="1619"/>
                    <a:pt x="43" y="1622"/>
                  </a:cubicBezTo>
                  <a:cubicBezTo>
                    <a:pt x="45" y="1623"/>
                    <a:pt x="48" y="1625"/>
                    <a:pt x="49" y="1627"/>
                  </a:cubicBezTo>
                  <a:cubicBezTo>
                    <a:pt x="50" y="1634"/>
                    <a:pt x="56" y="1637"/>
                    <a:pt x="61" y="1637"/>
                  </a:cubicBezTo>
                  <a:cubicBezTo>
                    <a:pt x="73" y="1639"/>
                    <a:pt x="84" y="1642"/>
                    <a:pt x="97" y="1640"/>
                  </a:cubicBezTo>
                  <a:cubicBezTo>
                    <a:pt x="109" y="1638"/>
                    <a:pt x="122" y="1636"/>
                    <a:pt x="133" y="1631"/>
                  </a:cubicBezTo>
                  <a:cubicBezTo>
                    <a:pt x="145" y="1627"/>
                    <a:pt x="155" y="1622"/>
                    <a:pt x="161" y="1611"/>
                  </a:cubicBezTo>
                  <a:cubicBezTo>
                    <a:pt x="165" y="1603"/>
                    <a:pt x="173" y="1603"/>
                    <a:pt x="180" y="1602"/>
                  </a:cubicBezTo>
                  <a:cubicBezTo>
                    <a:pt x="182" y="1602"/>
                    <a:pt x="183" y="1603"/>
                    <a:pt x="184" y="1603"/>
                  </a:cubicBezTo>
                  <a:cubicBezTo>
                    <a:pt x="186" y="1602"/>
                    <a:pt x="187" y="1601"/>
                    <a:pt x="188" y="1600"/>
                  </a:cubicBezTo>
                  <a:cubicBezTo>
                    <a:pt x="195" y="1597"/>
                    <a:pt x="201" y="1595"/>
                    <a:pt x="208" y="1592"/>
                  </a:cubicBezTo>
                  <a:cubicBezTo>
                    <a:pt x="218" y="1586"/>
                    <a:pt x="220" y="1580"/>
                    <a:pt x="215" y="1569"/>
                  </a:cubicBezTo>
                  <a:cubicBezTo>
                    <a:pt x="214" y="1567"/>
                    <a:pt x="213" y="1566"/>
                    <a:pt x="213" y="1564"/>
                  </a:cubicBezTo>
                  <a:cubicBezTo>
                    <a:pt x="212" y="1560"/>
                    <a:pt x="211" y="1557"/>
                    <a:pt x="210" y="1552"/>
                  </a:cubicBezTo>
                  <a:cubicBezTo>
                    <a:pt x="210" y="1551"/>
                    <a:pt x="211" y="1549"/>
                    <a:pt x="211" y="1548"/>
                  </a:cubicBezTo>
                  <a:cubicBezTo>
                    <a:pt x="211" y="1543"/>
                    <a:pt x="213" y="1539"/>
                    <a:pt x="215" y="1534"/>
                  </a:cubicBezTo>
                  <a:cubicBezTo>
                    <a:pt x="216" y="1532"/>
                    <a:pt x="217" y="1530"/>
                    <a:pt x="218" y="1527"/>
                  </a:cubicBezTo>
                  <a:cubicBezTo>
                    <a:pt x="222" y="1519"/>
                    <a:pt x="227" y="1511"/>
                    <a:pt x="229" y="1502"/>
                  </a:cubicBezTo>
                  <a:cubicBezTo>
                    <a:pt x="231" y="1492"/>
                    <a:pt x="232" y="1481"/>
                    <a:pt x="232" y="1470"/>
                  </a:cubicBezTo>
                  <a:cubicBezTo>
                    <a:pt x="233" y="1457"/>
                    <a:pt x="232" y="1445"/>
                    <a:pt x="229" y="1433"/>
                  </a:cubicBezTo>
                  <a:cubicBezTo>
                    <a:pt x="227" y="1422"/>
                    <a:pt x="226" y="1411"/>
                    <a:pt x="225" y="1400"/>
                  </a:cubicBezTo>
                  <a:cubicBezTo>
                    <a:pt x="224" y="1396"/>
                    <a:pt x="223" y="1390"/>
                    <a:pt x="224" y="1385"/>
                  </a:cubicBezTo>
                  <a:cubicBezTo>
                    <a:pt x="227" y="1378"/>
                    <a:pt x="228" y="1370"/>
                    <a:pt x="231" y="1363"/>
                  </a:cubicBezTo>
                  <a:cubicBezTo>
                    <a:pt x="236" y="1348"/>
                    <a:pt x="239" y="1333"/>
                    <a:pt x="241" y="1318"/>
                  </a:cubicBezTo>
                  <a:cubicBezTo>
                    <a:pt x="242" y="1306"/>
                    <a:pt x="245" y="1293"/>
                    <a:pt x="247" y="1281"/>
                  </a:cubicBezTo>
                  <a:cubicBezTo>
                    <a:pt x="249" y="1274"/>
                    <a:pt x="251" y="1267"/>
                    <a:pt x="252" y="1259"/>
                  </a:cubicBezTo>
                  <a:cubicBezTo>
                    <a:pt x="254" y="1249"/>
                    <a:pt x="255" y="1239"/>
                    <a:pt x="256" y="1229"/>
                  </a:cubicBezTo>
                  <a:cubicBezTo>
                    <a:pt x="258" y="1217"/>
                    <a:pt x="261" y="1205"/>
                    <a:pt x="260" y="1193"/>
                  </a:cubicBezTo>
                  <a:cubicBezTo>
                    <a:pt x="260" y="1191"/>
                    <a:pt x="261" y="1188"/>
                    <a:pt x="261" y="1185"/>
                  </a:cubicBezTo>
                  <a:cubicBezTo>
                    <a:pt x="262" y="1175"/>
                    <a:pt x="264" y="1166"/>
                    <a:pt x="265" y="1156"/>
                  </a:cubicBezTo>
                  <a:cubicBezTo>
                    <a:pt x="266" y="1148"/>
                    <a:pt x="266" y="1141"/>
                    <a:pt x="267" y="1134"/>
                  </a:cubicBezTo>
                  <a:cubicBezTo>
                    <a:pt x="268" y="1123"/>
                    <a:pt x="270" y="1113"/>
                    <a:pt x="272" y="1102"/>
                  </a:cubicBezTo>
                  <a:cubicBezTo>
                    <a:pt x="273" y="1091"/>
                    <a:pt x="274" y="1079"/>
                    <a:pt x="275" y="1068"/>
                  </a:cubicBezTo>
                  <a:cubicBezTo>
                    <a:pt x="276" y="1056"/>
                    <a:pt x="277" y="1044"/>
                    <a:pt x="278" y="1032"/>
                  </a:cubicBezTo>
                  <a:cubicBezTo>
                    <a:pt x="280" y="1018"/>
                    <a:pt x="281" y="1005"/>
                    <a:pt x="283" y="992"/>
                  </a:cubicBezTo>
                  <a:cubicBezTo>
                    <a:pt x="285" y="994"/>
                    <a:pt x="286" y="996"/>
                    <a:pt x="286" y="998"/>
                  </a:cubicBezTo>
                  <a:cubicBezTo>
                    <a:pt x="287" y="1003"/>
                    <a:pt x="287" y="1008"/>
                    <a:pt x="288" y="1012"/>
                  </a:cubicBezTo>
                  <a:cubicBezTo>
                    <a:pt x="290" y="1022"/>
                    <a:pt x="293" y="1031"/>
                    <a:pt x="293" y="1042"/>
                  </a:cubicBezTo>
                  <a:cubicBezTo>
                    <a:pt x="293" y="1049"/>
                    <a:pt x="294" y="1056"/>
                    <a:pt x="294" y="1063"/>
                  </a:cubicBezTo>
                  <a:cubicBezTo>
                    <a:pt x="295" y="1075"/>
                    <a:pt x="296" y="1088"/>
                    <a:pt x="297" y="1101"/>
                  </a:cubicBezTo>
                  <a:cubicBezTo>
                    <a:pt x="298" y="1106"/>
                    <a:pt x="298" y="1112"/>
                    <a:pt x="299" y="1117"/>
                  </a:cubicBezTo>
                  <a:cubicBezTo>
                    <a:pt x="300" y="1124"/>
                    <a:pt x="301" y="1131"/>
                    <a:pt x="302" y="1138"/>
                  </a:cubicBezTo>
                  <a:cubicBezTo>
                    <a:pt x="303" y="1144"/>
                    <a:pt x="304" y="1150"/>
                    <a:pt x="304" y="1156"/>
                  </a:cubicBezTo>
                  <a:cubicBezTo>
                    <a:pt x="305" y="1167"/>
                    <a:pt x="307" y="1178"/>
                    <a:pt x="307" y="1190"/>
                  </a:cubicBezTo>
                  <a:cubicBezTo>
                    <a:pt x="307" y="1197"/>
                    <a:pt x="308" y="1204"/>
                    <a:pt x="310" y="1211"/>
                  </a:cubicBezTo>
                  <a:cubicBezTo>
                    <a:pt x="312" y="1222"/>
                    <a:pt x="315" y="1233"/>
                    <a:pt x="317" y="1244"/>
                  </a:cubicBezTo>
                  <a:cubicBezTo>
                    <a:pt x="319" y="1256"/>
                    <a:pt x="322" y="1268"/>
                    <a:pt x="324" y="1280"/>
                  </a:cubicBezTo>
                  <a:cubicBezTo>
                    <a:pt x="327" y="1293"/>
                    <a:pt x="329" y="1306"/>
                    <a:pt x="332" y="1318"/>
                  </a:cubicBezTo>
                  <a:cubicBezTo>
                    <a:pt x="335" y="1336"/>
                    <a:pt x="338" y="1354"/>
                    <a:pt x="343" y="1372"/>
                  </a:cubicBezTo>
                  <a:cubicBezTo>
                    <a:pt x="345" y="1377"/>
                    <a:pt x="345" y="1383"/>
                    <a:pt x="344" y="1388"/>
                  </a:cubicBezTo>
                  <a:cubicBezTo>
                    <a:pt x="343" y="1402"/>
                    <a:pt x="340" y="1417"/>
                    <a:pt x="338" y="1431"/>
                  </a:cubicBezTo>
                  <a:cubicBezTo>
                    <a:pt x="337" y="1445"/>
                    <a:pt x="336" y="1459"/>
                    <a:pt x="335" y="1472"/>
                  </a:cubicBezTo>
                  <a:cubicBezTo>
                    <a:pt x="335" y="1474"/>
                    <a:pt x="335" y="1476"/>
                    <a:pt x="335" y="1477"/>
                  </a:cubicBezTo>
                  <a:cubicBezTo>
                    <a:pt x="336" y="1481"/>
                    <a:pt x="336" y="1485"/>
                    <a:pt x="337" y="1488"/>
                  </a:cubicBezTo>
                  <a:cubicBezTo>
                    <a:pt x="339" y="1499"/>
                    <a:pt x="340" y="1509"/>
                    <a:pt x="345" y="1519"/>
                  </a:cubicBezTo>
                  <a:cubicBezTo>
                    <a:pt x="349" y="1526"/>
                    <a:pt x="352" y="1535"/>
                    <a:pt x="355" y="1543"/>
                  </a:cubicBezTo>
                  <a:cubicBezTo>
                    <a:pt x="356" y="1547"/>
                    <a:pt x="357" y="1552"/>
                    <a:pt x="358" y="1556"/>
                  </a:cubicBezTo>
                  <a:cubicBezTo>
                    <a:pt x="353" y="1562"/>
                    <a:pt x="354" y="1570"/>
                    <a:pt x="351" y="1577"/>
                  </a:cubicBezTo>
                  <a:cubicBezTo>
                    <a:pt x="351" y="1578"/>
                    <a:pt x="351" y="1580"/>
                    <a:pt x="351" y="1581"/>
                  </a:cubicBezTo>
                  <a:cubicBezTo>
                    <a:pt x="352" y="1586"/>
                    <a:pt x="356" y="1590"/>
                    <a:pt x="360" y="1592"/>
                  </a:cubicBezTo>
                  <a:cubicBezTo>
                    <a:pt x="364" y="1595"/>
                    <a:pt x="367" y="1597"/>
                    <a:pt x="371" y="1599"/>
                  </a:cubicBezTo>
                  <a:cubicBezTo>
                    <a:pt x="374" y="1600"/>
                    <a:pt x="377" y="1601"/>
                    <a:pt x="380" y="1602"/>
                  </a:cubicBezTo>
                  <a:cubicBezTo>
                    <a:pt x="386" y="1603"/>
                    <a:pt x="388" y="1605"/>
                    <a:pt x="389" y="1611"/>
                  </a:cubicBezTo>
                  <a:cubicBezTo>
                    <a:pt x="390" y="1615"/>
                    <a:pt x="391" y="1619"/>
                    <a:pt x="393" y="1622"/>
                  </a:cubicBezTo>
                  <a:cubicBezTo>
                    <a:pt x="399" y="1628"/>
                    <a:pt x="405" y="1633"/>
                    <a:pt x="413" y="1636"/>
                  </a:cubicBezTo>
                  <a:cubicBezTo>
                    <a:pt x="426" y="1640"/>
                    <a:pt x="437" y="1645"/>
                    <a:pt x="450" y="1647"/>
                  </a:cubicBezTo>
                  <a:cubicBezTo>
                    <a:pt x="464" y="1649"/>
                    <a:pt x="476" y="1647"/>
                    <a:pt x="488" y="1640"/>
                  </a:cubicBezTo>
                  <a:cubicBezTo>
                    <a:pt x="490" y="1640"/>
                    <a:pt x="491" y="1638"/>
                    <a:pt x="492" y="1637"/>
                  </a:cubicBezTo>
                  <a:cubicBezTo>
                    <a:pt x="494" y="1634"/>
                    <a:pt x="496" y="1631"/>
                    <a:pt x="498" y="1628"/>
                  </a:cubicBezTo>
                  <a:cubicBezTo>
                    <a:pt x="497" y="1625"/>
                    <a:pt x="496" y="1622"/>
                    <a:pt x="495" y="1619"/>
                  </a:cubicBezTo>
                  <a:cubicBezTo>
                    <a:pt x="494" y="1617"/>
                    <a:pt x="493" y="1614"/>
                    <a:pt x="494" y="1612"/>
                  </a:cubicBezTo>
                  <a:cubicBezTo>
                    <a:pt x="495" y="1607"/>
                    <a:pt x="493" y="1603"/>
                    <a:pt x="491" y="1599"/>
                  </a:cubicBezTo>
                  <a:cubicBezTo>
                    <a:pt x="490" y="1598"/>
                    <a:pt x="489" y="1596"/>
                    <a:pt x="489" y="1594"/>
                  </a:cubicBezTo>
                  <a:cubicBezTo>
                    <a:pt x="489" y="1589"/>
                    <a:pt x="486" y="1587"/>
                    <a:pt x="482" y="1584"/>
                  </a:cubicBezTo>
                  <a:cubicBezTo>
                    <a:pt x="479" y="1581"/>
                    <a:pt x="476" y="1577"/>
                    <a:pt x="473" y="1574"/>
                  </a:cubicBezTo>
                  <a:cubicBezTo>
                    <a:pt x="470" y="1570"/>
                    <a:pt x="468" y="1565"/>
                    <a:pt x="465" y="1561"/>
                  </a:cubicBezTo>
                  <a:cubicBezTo>
                    <a:pt x="459" y="1553"/>
                    <a:pt x="456" y="1544"/>
                    <a:pt x="458" y="1534"/>
                  </a:cubicBezTo>
                  <a:cubicBezTo>
                    <a:pt x="459" y="1528"/>
                    <a:pt x="460" y="1522"/>
                    <a:pt x="462" y="1516"/>
                  </a:cubicBezTo>
                  <a:cubicBezTo>
                    <a:pt x="463" y="1509"/>
                    <a:pt x="464" y="1502"/>
                    <a:pt x="467" y="1496"/>
                  </a:cubicBezTo>
                  <a:cubicBezTo>
                    <a:pt x="470" y="1489"/>
                    <a:pt x="470" y="1481"/>
                    <a:pt x="466" y="1473"/>
                  </a:cubicBezTo>
                  <a:cubicBezTo>
                    <a:pt x="462" y="1467"/>
                    <a:pt x="460" y="1461"/>
                    <a:pt x="459" y="1454"/>
                  </a:cubicBezTo>
                  <a:cubicBezTo>
                    <a:pt x="459" y="1449"/>
                    <a:pt x="458" y="1445"/>
                    <a:pt x="458" y="1440"/>
                  </a:cubicBezTo>
                  <a:cubicBezTo>
                    <a:pt x="459" y="1431"/>
                    <a:pt x="460" y="1423"/>
                    <a:pt x="461" y="1414"/>
                  </a:cubicBezTo>
                  <a:cubicBezTo>
                    <a:pt x="462" y="1403"/>
                    <a:pt x="463" y="1392"/>
                    <a:pt x="465" y="1381"/>
                  </a:cubicBezTo>
                  <a:cubicBezTo>
                    <a:pt x="467" y="1362"/>
                    <a:pt x="471" y="1344"/>
                    <a:pt x="474" y="1325"/>
                  </a:cubicBezTo>
                  <a:cubicBezTo>
                    <a:pt x="476" y="1310"/>
                    <a:pt x="477" y="1295"/>
                    <a:pt x="479" y="1281"/>
                  </a:cubicBezTo>
                  <a:cubicBezTo>
                    <a:pt x="479" y="1277"/>
                    <a:pt x="480" y="1273"/>
                    <a:pt x="480" y="1269"/>
                  </a:cubicBezTo>
                  <a:cubicBezTo>
                    <a:pt x="481" y="1261"/>
                    <a:pt x="482" y="1253"/>
                    <a:pt x="482" y="1244"/>
                  </a:cubicBezTo>
                  <a:cubicBezTo>
                    <a:pt x="483" y="1239"/>
                    <a:pt x="484" y="1233"/>
                    <a:pt x="484" y="1227"/>
                  </a:cubicBezTo>
                  <a:cubicBezTo>
                    <a:pt x="485" y="1219"/>
                    <a:pt x="487" y="1211"/>
                    <a:pt x="487" y="1202"/>
                  </a:cubicBezTo>
                  <a:cubicBezTo>
                    <a:pt x="487" y="1186"/>
                    <a:pt x="486" y="1171"/>
                    <a:pt x="485" y="1155"/>
                  </a:cubicBezTo>
                  <a:cubicBezTo>
                    <a:pt x="485" y="1153"/>
                    <a:pt x="485" y="1152"/>
                    <a:pt x="485" y="1151"/>
                  </a:cubicBezTo>
                  <a:cubicBezTo>
                    <a:pt x="484" y="1143"/>
                    <a:pt x="482" y="1135"/>
                    <a:pt x="482" y="1127"/>
                  </a:cubicBezTo>
                  <a:cubicBezTo>
                    <a:pt x="482" y="1109"/>
                    <a:pt x="482" y="1091"/>
                    <a:pt x="482" y="1073"/>
                  </a:cubicBezTo>
                  <a:cubicBezTo>
                    <a:pt x="483" y="1032"/>
                    <a:pt x="483" y="990"/>
                    <a:pt x="484" y="948"/>
                  </a:cubicBezTo>
                  <a:cubicBezTo>
                    <a:pt x="484" y="941"/>
                    <a:pt x="485" y="933"/>
                    <a:pt x="485" y="925"/>
                  </a:cubicBezTo>
                  <a:cubicBezTo>
                    <a:pt x="485" y="924"/>
                    <a:pt x="485" y="922"/>
                    <a:pt x="485" y="921"/>
                  </a:cubicBezTo>
                  <a:cubicBezTo>
                    <a:pt x="484" y="919"/>
                    <a:pt x="484" y="917"/>
                    <a:pt x="484" y="916"/>
                  </a:cubicBezTo>
                  <a:cubicBezTo>
                    <a:pt x="486" y="902"/>
                    <a:pt x="486" y="887"/>
                    <a:pt x="484" y="873"/>
                  </a:cubicBezTo>
                  <a:cubicBezTo>
                    <a:pt x="484" y="871"/>
                    <a:pt x="484" y="869"/>
                    <a:pt x="485" y="867"/>
                  </a:cubicBezTo>
                  <a:cubicBezTo>
                    <a:pt x="490" y="857"/>
                    <a:pt x="495" y="847"/>
                    <a:pt x="501" y="836"/>
                  </a:cubicBezTo>
                  <a:cubicBezTo>
                    <a:pt x="501" y="836"/>
                    <a:pt x="502" y="836"/>
                    <a:pt x="503" y="835"/>
                  </a:cubicBezTo>
                  <a:cubicBezTo>
                    <a:pt x="504" y="837"/>
                    <a:pt x="504" y="838"/>
                    <a:pt x="505" y="840"/>
                  </a:cubicBezTo>
                  <a:cubicBezTo>
                    <a:pt x="512" y="838"/>
                    <a:pt x="519" y="836"/>
                    <a:pt x="525" y="834"/>
                  </a:cubicBezTo>
                  <a:cubicBezTo>
                    <a:pt x="531" y="814"/>
                    <a:pt x="538" y="796"/>
                    <a:pt x="544" y="777"/>
                  </a:cubicBezTo>
                  <a:cubicBezTo>
                    <a:pt x="546" y="769"/>
                    <a:pt x="547" y="761"/>
                    <a:pt x="545" y="752"/>
                  </a:cubicBezTo>
                  <a:cubicBezTo>
                    <a:pt x="543" y="747"/>
                    <a:pt x="543" y="742"/>
                    <a:pt x="544" y="737"/>
                  </a:cubicBezTo>
                  <a:cubicBezTo>
                    <a:pt x="553" y="701"/>
                    <a:pt x="567" y="667"/>
                    <a:pt x="563" y="6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8">
              <a:extLst>
                <a:ext uri="{FF2B5EF4-FFF2-40B4-BE49-F238E27FC236}">
                  <a16:creationId xmlns:a16="http://schemas.microsoft.com/office/drawing/2014/main" id="{1797C320-ECEE-41AC-A504-A284D1D0A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5275" y="2174876"/>
              <a:ext cx="1023937" cy="3121025"/>
            </a:xfrm>
            <a:custGeom>
              <a:avLst/>
              <a:gdLst>
                <a:gd name="T0" fmla="*/ 470 w 548"/>
                <a:gd name="T1" fmla="*/ 1525 h 1672"/>
                <a:gd name="T2" fmla="*/ 416 w 548"/>
                <a:gd name="T3" fmla="*/ 1497 h 1672"/>
                <a:gd name="T4" fmla="*/ 392 w 548"/>
                <a:gd name="T5" fmla="*/ 1437 h 1672"/>
                <a:gd name="T6" fmla="*/ 383 w 548"/>
                <a:gd name="T7" fmla="*/ 1265 h 1672"/>
                <a:gd name="T8" fmla="*/ 397 w 548"/>
                <a:gd name="T9" fmla="*/ 1138 h 1672"/>
                <a:gd name="T10" fmla="*/ 407 w 548"/>
                <a:gd name="T11" fmla="*/ 1002 h 1672"/>
                <a:gd name="T12" fmla="*/ 449 w 548"/>
                <a:gd name="T13" fmla="*/ 967 h 1672"/>
                <a:gd name="T14" fmla="*/ 466 w 548"/>
                <a:gd name="T15" fmla="*/ 901 h 1672"/>
                <a:gd name="T16" fmla="*/ 464 w 548"/>
                <a:gd name="T17" fmla="*/ 858 h 1672"/>
                <a:gd name="T18" fmla="*/ 463 w 548"/>
                <a:gd name="T19" fmla="*/ 702 h 1672"/>
                <a:gd name="T20" fmla="*/ 454 w 548"/>
                <a:gd name="T21" fmla="*/ 537 h 1672"/>
                <a:gd name="T22" fmla="*/ 436 w 548"/>
                <a:gd name="T23" fmla="*/ 389 h 1672"/>
                <a:gd name="T24" fmla="*/ 393 w 548"/>
                <a:gd name="T25" fmla="*/ 303 h 1672"/>
                <a:gd name="T26" fmla="*/ 309 w 548"/>
                <a:gd name="T27" fmla="*/ 262 h 1672"/>
                <a:gd name="T28" fmla="*/ 321 w 548"/>
                <a:gd name="T29" fmla="*/ 207 h 1672"/>
                <a:gd name="T30" fmla="*/ 341 w 548"/>
                <a:gd name="T31" fmla="*/ 160 h 1672"/>
                <a:gd name="T32" fmla="*/ 348 w 548"/>
                <a:gd name="T33" fmla="*/ 110 h 1672"/>
                <a:gd name="T34" fmla="*/ 341 w 548"/>
                <a:gd name="T35" fmla="*/ 79 h 1672"/>
                <a:gd name="T36" fmla="*/ 327 w 548"/>
                <a:gd name="T37" fmla="*/ 24 h 1672"/>
                <a:gd name="T38" fmla="*/ 280 w 548"/>
                <a:gd name="T39" fmla="*/ 9 h 1672"/>
                <a:gd name="T40" fmla="*/ 229 w 548"/>
                <a:gd name="T41" fmla="*/ 7 h 1672"/>
                <a:gd name="T42" fmla="*/ 200 w 548"/>
                <a:gd name="T43" fmla="*/ 24 h 1672"/>
                <a:gd name="T44" fmla="*/ 180 w 548"/>
                <a:gd name="T45" fmla="*/ 101 h 1672"/>
                <a:gd name="T46" fmla="*/ 181 w 548"/>
                <a:gd name="T47" fmla="*/ 146 h 1672"/>
                <a:gd name="T48" fmla="*/ 174 w 548"/>
                <a:gd name="T49" fmla="*/ 176 h 1672"/>
                <a:gd name="T50" fmla="*/ 197 w 548"/>
                <a:gd name="T51" fmla="*/ 210 h 1672"/>
                <a:gd name="T52" fmla="*/ 190 w 548"/>
                <a:gd name="T53" fmla="*/ 235 h 1672"/>
                <a:gd name="T54" fmla="*/ 155 w 548"/>
                <a:gd name="T55" fmla="*/ 268 h 1672"/>
                <a:gd name="T56" fmla="*/ 51 w 548"/>
                <a:gd name="T57" fmla="*/ 324 h 1672"/>
                <a:gd name="T58" fmla="*/ 21 w 548"/>
                <a:gd name="T59" fmla="*/ 427 h 1672"/>
                <a:gd name="T60" fmla="*/ 12 w 548"/>
                <a:gd name="T61" fmla="*/ 523 h 1672"/>
                <a:gd name="T62" fmla="*/ 0 w 548"/>
                <a:gd name="T63" fmla="*/ 601 h 1672"/>
                <a:gd name="T64" fmla="*/ 10 w 548"/>
                <a:gd name="T65" fmla="*/ 685 h 1672"/>
                <a:gd name="T66" fmla="*/ 49 w 548"/>
                <a:gd name="T67" fmla="*/ 800 h 1672"/>
                <a:gd name="T68" fmla="*/ 69 w 548"/>
                <a:gd name="T69" fmla="*/ 862 h 1672"/>
                <a:gd name="T70" fmla="*/ 97 w 548"/>
                <a:gd name="T71" fmla="*/ 942 h 1672"/>
                <a:gd name="T72" fmla="*/ 103 w 548"/>
                <a:gd name="T73" fmla="*/ 1090 h 1672"/>
                <a:gd name="T74" fmla="*/ 97 w 548"/>
                <a:gd name="T75" fmla="*/ 1219 h 1672"/>
                <a:gd name="T76" fmla="*/ 98 w 548"/>
                <a:gd name="T77" fmla="*/ 1270 h 1672"/>
                <a:gd name="T78" fmla="*/ 105 w 548"/>
                <a:gd name="T79" fmla="*/ 1430 h 1672"/>
                <a:gd name="T80" fmla="*/ 112 w 548"/>
                <a:gd name="T81" fmla="*/ 1552 h 1672"/>
                <a:gd name="T82" fmla="*/ 131 w 548"/>
                <a:gd name="T83" fmla="*/ 1628 h 1672"/>
                <a:gd name="T84" fmla="*/ 252 w 548"/>
                <a:gd name="T85" fmla="*/ 1648 h 1672"/>
                <a:gd name="T86" fmla="*/ 224 w 548"/>
                <a:gd name="T87" fmla="*/ 1557 h 1672"/>
                <a:gd name="T88" fmla="*/ 233 w 548"/>
                <a:gd name="T89" fmla="*/ 1452 h 1672"/>
                <a:gd name="T90" fmla="*/ 214 w 548"/>
                <a:gd name="T91" fmla="*/ 1320 h 1672"/>
                <a:gd name="T92" fmla="*/ 245 w 548"/>
                <a:gd name="T93" fmla="*/ 1202 h 1672"/>
                <a:gd name="T94" fmla="*/ 245 w 548"/>
                <a:gd name="T95" fmla="*/ 1235 h 1672"/>
                <a:gd name="T96" fmla="*/ 242 w 548"/>
                <a:gd name="T97" fmla="*/ 1340 h 1672"/>
                <a:gd name="T98" fmla="*/ 264 w 548"/>
                <a:gd name="T99" fmla="*/ 1456 h 1672"/>
                <a:gd name="T100" fmla="*/ 264 w 548"/>
                <a:gd name="T101" fmla="*/ 1545 h 1672"/>
                <a:gd name="T102" fmla="*/ 307 w 548"/>
                <a:gd name="T103" fmla="*/ 1578 h 1672"/>
                <a:gd name="T104" fmla="*/ 448 w 548"/>
                <a:gd name="T105" fmla="*/ 1585 h 1672"/>
                <a:gd name="T106" fmla="*/ 540 w 548"/>
                <a:gd name="T107" fmla="*/ 1547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48" h="1672">
                  <a:moveTo>
                    <a:pt x="529" y="1536"/>
                  </a:moveTo>
                  <a:cubicBezTo>
                    <a:pt x="522" y="1535"/>
                    <a:pt x="514" y="1532"/>
                    <a:pt x="507" y="1531"/>
                  </a:cubicBezTo>
                  <a:cubicBezTo>
                    <a:pt x="498" y="1529"/>
                    <a:pt x="489" y="1530"/>
                    <a:pt x="480" y="1528"/>
                  </a:cubicBezTo>
                  <a:cubicBezTo>
                    <a:pt x="477" y="1527"/>
                    <a:pt x="473" y="1526"/>
                    <a:pt x="470" y="1525"/>
                  </a:cubicBezTo>
                  <a:cubicBezTo>
                    <a:pt x="466" y="1525"/>
                    <a:pt x="463" y="1527"/>
                    <a:pt x="459" y="1527"/>
                  </a:cubicBezTo>
                  <a:cubicBezTo>
                    <a:pt x="454" y="1527"/>
                    <a:pt x="449" y="1525"/>
                    <a:pt x="444" y="1525"/>
                  </a:cubicBezTo>
                  <a:cubicBezTo>
                    <a:pt x="439" y="1520"/>
                    <a:pt x="435" y="1514"/>
                    <a:pt x="429" y="1510"/>
                  </a:cubicBezTo>
                  <a:cubicBezTo>
                    <a:pt x="424" y="1507"/>
                    <a:pt x="422" y="1500"/>
                    <a:pt x="416" y="1497"/>
                  </a:cubicBezTo>
                  <a:cubicBezTo>
                    <a:pt x="413" y="1492"/>
                    <a:pt x="408" y="1489"/>
                    <a:pt x="404" y="1485"/>
                  </a:cubicBezTo>
                  <a:cubicBezTo>
                    <a:pt x="400" y="1482"/>
                    <a:pt x="397" y="1479"/>
                    <a:pt x="397" y="1473"/>
                  </a:cubicBezTo>
                  <a:cubicBezTo>
                    <a:pt x="397" y="1467"/>
                    <a:pt x="396" y="1460"/>
                    <a:pt x="395" y="1454"/>
                  </a:cubicBezTo>
                  <a:cubicBezTo>
                    <a:pt x="395" y="1448"/>
                    <a:pt x="394" y="1442"/>
                    <a:pt x="392" y="1437"/>
                  </a:cubicBezTo>
                  <a:cubicBezTo>
                    <a:pt x="384" y="1423"/>
                    <a:pt x="382" y="1408"/>
                    <a:pt x="381" y="1393"/>
                  </a:cubicBezTo>
                  <a:cubicBezTo>
                    <a:pt x="379" y="1371"/>
                    <a:pt x="379" y="1348"/>
                    <a:pt x="379" y="1325"/>
                  </a:cubicBezTo>
                  <a:cubicBezTo>
                    <a:pt x="379" y="1308"/>
                    <a:pt x="380" y="1290"/>
                    <a:pt x="381" y="1272"/>
                  </a:cubicBezTo>
                  <a:cubicBezTo>
                    <a:pt x="381" y="1270"/>
                    <a:pt x="382" y="1268"/>
                    <a:pt x="383" y="1265"/>
                  </a:cubicBezTo>
                  <a:cubicBezTo>
                    <a:pt x="385" y="1258"/>
                    <a:pt x="386" y="1251"/>
                    <a:pt x="386" y="1244"/>
                  </a:cubicBezTo>
                  <a:cubicBezTo>
                    <a:pt x="386" y="1240"/>
                    <a:pt x="385" y="1235"/>
                    <a:pt x="386" y="1232"/>
                  </a:cubicBezTo>
                  <a:cubicBezTo>
                    <a:pt x="391" y="1214"/>
                    <a:pt x="391" y="1196"/>
                    <a:pt x="394" y="1179"/>
                  </a:cubicBezTo>
                  <a:cubicBezTo>
                    <a:pt x="396" y="1165"/>
                    <a:pt x="396" y="1151"/>
                    <a:pt x="397" y="1138"/>
                  </a:cubicBezTo>
                  <a:cubicBezTo>
                    <a:pt x="398" y="1122"/>
                    <a:pt x="398" y="1106"/>
                    <a:pt x="399" y="1090"/>
                  </a:cubicBezTo>
                  <a:cubicBezTo>
                    <a:pt x="399" y="1084"/>
                    <a:pt x="399" y="1078"/>
                    <a:pt x="399" y="1072"/>
                  </a:cubicBezTo>
                  <a:cubicBezTo>
                    <a:pt x="398" y="1059"/>
                    <a:pt x="401" y="1047"/>
                    <a:pt x="403" y="1035"/>
                  </a:cubicBezTo>
                  <a:cubicBezTo>
                    <a:pt x="404" y="1024"/>
                    <a:pt x="406" y="1013"/>
                    <a:pt x="407" y="1002"/>
                  </a:cubicBezTo>
                  <a:cubicBezTo>
                    <a:pt x="407" y="1001"/>
                    <a:pt x="407" y="1000"/>
                    <a:pt x="408" y="999"/>
                  </a:cubicBezTo>
                  <a:cubicBezTo>
                    <a:pt x="410" y="999"/>
                    <a:pt x="412" y="999"/>
                    <a:pt x="412" y="999"/>
                  </a:cubicBezTo>
                  <a:cubicBezTo>
                    <a:pt x="416" y="995"/>
                    <a:pt x="418" y="993"/>
                    <a:pt x="421" y="991"/>
                  </a:cubicBezTo>
                  <a:cubicBezTo>
                    <a:pt x="431" y="984"/>
                    <a:pt x="441" y="976"/>
                    <a:pt x="449" y="967"/>
                  </a:cubicBezTo>
                  <a:cubicBezTo>
                    <a:pt x="455" y="962"/>
                    <a:pt x="458" y="956"/>
                    <a:pt x="459" y="949"/>
                  </a:cubicBezTo>
                  <a:cubicBezTo>
                    <a:pt x="461" y="940"/>
                    <a:pt x="463" y="931"/>
                    <a:pt x="467" y="923"/>
                  </a:cubicBezTo>
                  <a:cubicBezTo>
                    <a:pt x="469" y="919"/>
                    <a:pt x="469" y="915"/>
                    <a:pt x="467" y="910"/>
                  </a:cubicBezTo>
                  <a:cubicBezTo>
                    <a:pt x="466" y="907"/>
                    <a:pt x="466" y="904"/>
                    <a:pt x="466" y="901"/>
                  </a:cubicBezTo>
                  <a:cubicBezTo>
                    <a:pt x="465" y="899"/>
                    <a:pt x="465" y="897"/>
                    <a:pt x="464" y="895"/>
                  </a:cubicBezTo>
                  <a:cubicBezTo>
                    <a:pt x="463" y="891"/>
                    <a:pt x="462" y="887"/>
                    <a:pt x="460" y="883"/>
                  </a:cubicBezTo>
                  <a:cubicBezTo>
                    <a:pt x="467" y="880"/>
                    <a:pt x="466" y="875"/>
                    <a:pt x="465" y="870"/>
                  </a:cubicBezTo>
                  <a:cubicBezTo>
                    <a:pt x="465" y="866"/>
                    <a:pt x="464" y="862"/>
                    <a:pt x="464" y="858"/>
                  </a:cubicBezTo>
                  <a:cubicBezTo>
                    <a:pt x="464" y="855"/>
                    <a:pt x="466" y="851"/>
                    <a:pt x="466" y="848"/>
                  </a:cubicBezTo>
                  <a:cubicBezTo>
                    <a:pt x="465" y="837"/>
                    <a:pt x="467" y="827"/>
                    <a:pt x="466" y="816"/>
                  </a:cubicBezTo>
                  <a:cubicBezTo>
                    <a:pt x="464" y="796"/>
                    <a:pt x="466" y="775"/>
                    <a:pt x="464" y="755"/>
                  </a:cubicBezTo>
                  <a:cubicBezTo>
                    <a:pt x="463" y="737"/>
                    <a:pt x="464" y="720"/>
                    <a:pt x="463" y="702"/>
                  </a:cubicBezTo>
                  <a:cubicBezTo>
                    <a:pt x="461" y="678"/>
                    <a:pt x="463" y="654"/>
                    <a:pt x="461" y="630"/>
                  </a:cubicBezTo>
                  <a:cubicBezTo>
                    <a:pt x="460" y="618"/>
                    <a:pt x="460" y="606"/>
                    <a:pt x="459" y="593"/>
                  </a:cubicBezTo>
                  <a:cubicBezTo>
                    <a:pt x="459" y="586"/>
                    <a:pt x="458" y="579"/>
                    <a:pt x="457" y="572"/>
                  </a:cubicBezTo>
                  <a:cubicBezTo>
                    <a:pt x="456" y="561"/>
                    <a:pt x="455" y="549"/>
                    <a:pt x="454" y="537"/>
                  </a:cubicBezTo>
                  <a:cubicBezTo>
                    <a:pt x="454" y="529"/>
                    <a:pt x="453" y="520"/>
                    <a:pt x="452" y="511"/>
                  </a:cubicBezTo>
                  <a:cubicBezTo>
                    <a:pt x="451" y="498"/>
                    <a:pt x="449" y="486"/>
                    <a:pt x="448" y="473"/>
                  </a:cubicBezTo>
                  <a:cubicBezTo>
                    <a:pt x="447" y="463"/>
                    <a:pt x="446" y="452"/>
                    <a:pt x="444" y="442"/>
                  </a:cubicBezTo>
                  <a:cubicBezTo>
                    <a:pt x="442" y="424"/>
                    <a:pt x="439" y="407"/>
                    <a:pt x="436" y="389"/>
                  </a:cubicBezTo>
                  <a:cubicBezTo>
                    <a:pt x="436" y="385"/>
                    <a:pt x="435" y="381"/>
                    <a:pt x="435" y="377"/>
                  </a:cubicBezTo>
                  <a:cubicBezTo>
                    <a:pt x="434" y="363"/>
                    <a:pt x="432" y="349"/>
                    <a:pt x="429" y="335"/>
                  </a:cubicBezTo>
                  <a:cubicBezTo>
                    <a:pt x="427" y="325"/>
                    <a:pt x="423" y="316"/>
                    <a:pt x="411" y="312"/>
                  </a:cubicBezTo>
                  <a:cubicBezTo>
                    <a:pt x="405" y="310"/>
                    <a:pt x="399" y="306"/>
                    <a:pt x="393" y="303"/>
                  </a:cubicBezTo>
                  <a:cubicBezTo>
                    <a:pt x="379" y="296"/>
                    <a:pt x="366" y="288"/>
                    <a:pt x="352" y="281"/>
                  </a:cubicBezTo>
                  <a:cubicBezTo>
                    <a:pt x="345" y="278"/>
                    <a:pt x="337" y="275"/>
                    <a:pt x="330" y="272"/>
                  </a:cubicBezTo>
                  <a:cubicBezTo>
                    <a:pt x="325" y="270"/>
                    <a:pt x="319" y="269"/>
                    <a:pt x="314" y="267"/>
                  </a:cubicBezTo>
                  <a:cubicBezTo>
                    <a:pt x="312" y="265"/>
                    <a:pt x="310" y="264"/>
                    <a:pt x="309" y="262"/>
                  </a:cubicBezTo>
                  <a:cubicBezTo>
                    <a:pt x="308" y="260"/>
                    <a:pt x="308" y="258"/>
                    <a:pt x="308" y="256"/>
                  </a:cubicBezTo>
                  <a:cubicBezTo>
                    <a:pt x="309" y="253"/>
                    <a:pt x="311" y="249"/>
                    <a:pt x="310" y="246"/>
                  </a:cubicBezTo>
                  <a:cubicBezTo>
                    <a:pt x="309" y="237"/>
                    <a:pt x="313" y="230"/>
                    <a:pt x="313" y="222"/>
                  </a:cubicBezTo>
                  <a:cubicBezTo>
                    <a:pt x="313" y="216"/>
                    <a:pt x="319" y="212"/>
                    <a:pt x="321" y="207"/>
                  </a:cubicBezTo>
                  <a:cubicBezTo>
                    <a:pt x="322" y="205"/>
                    <a:pt x="323" y="203"/>
                    <a:pt x="324" y="202"/>
                  </a:cubicBezTo>
                  <a:cubicBezTo>
                    <a:pt x="328" y="198"/>
                    <a:pt x="329" y="193"/>
                    <a:pt x="328" y="188"/>
                  </a:cubicBezTo>
                  <a:cubicBezTo>
                    <a:pt x="327" y="185"/>
                    <a:pt x="326" y="182"/>
                    <a:pt x="328" y="178"/>
                  </a:cubicBezTo>
                  <a:cubicBezTo>
                    <a:pt x="337" y="174"/>
                    <a:pt x="341" y="169"/>
                    <a:pt x="341" y="160"/>
                  </a:cubicBezTo>
                  <a:cubicBezTo>
                    <a:pt x="342" y="155"/>
                    <a:pt x="342" y="151"/>
                    <a:pt x="342" y="146"/>
                  </a:cubicBezTo>
                  <a:cubicBezTo>
                    <a:pt x="342" y="143"/>
                    <a:pt x="342" y="141"/>
                    <a:pt x="343" y="138"/>
                  </a:cubicBezTo>
                  <a:cubicBezTo>
                    <a:pt x="346" y="130"/>
                    <a:pt x="345" y="122"/>
                    <a:pt x="349" y="114"/>
                  </a:cubicBezTo>
                  <a:cubicBezTo>
                    <a:pt x="349" y="113"/>
                    <a:pt x="349" y="111"/>
                    <a:pt x="348" y="110"/>
                  </a:cubicBezTo>
                  <a:cubicBezTo>
                    <a:pt x="346" y="103"/>
                    <a:pt x="348" y="95"/>
                    <a:pt x="344" y="89"/>
                  </a:cubicBezTo>
                  <a:cubicBezTo>
                    <a:pt x="344" y="89"/>
                    <a:pt x="344" y="89"/>
                    <a:pt x="344" y="88"/>
                  </a:cubicBezTo>
                  <a:cubicBezTo>
                    <a:pt x="344" y="87"/>
                    <a:pt x="345" y="86"/>
                    <a:pt x="346" y="85"/>
                  </a:cubicBezTo>
                  <a:cubicBezTo>
                    <a:pt x="344" y="83"/>
                    <a:pt x="343" y="82"/>
                    <a:pt x="341" y="79"/>
                  </a:cubicBezTo>
                  <a:cubicBezTo>
                    <a:pt x="343" y="80"/>
                    <a:pt x="344" y="80"/>
                    <a:pt x="345" y="81"/>
                  </a:cubicBezTo>
                  <a:cubicBezTo>
                    <a:pt x="347" y="74"/>
                    <a:pt x="347" y="68"/>
                    <a:pt x="343" y="61"/>
                  </a:cubicBezTo>
                  <a:cubicBezTo>
                    <a:pt x="340" y="56"/>
                    <a:pt x="338" y="51"/>
                    <a:pt x="336" y="46"/>
                  </a:cubicBezTo>
                  <a:cubicBezTo>
                    <a:pt x="333" y="38"/>
                    <a:pt x="331" y="31"/>
                    <a:pt x="327" y="24"/>
                  </a:cubicBezTo>
                  <a:cubicBezTo>
                    <a:pt x="322" y="16"/>
                    <a:pt x="316" y="11"/>
                    <a:pt x="307" y="10"/>
                  </a:cubicBezTo>
                  <a:cubicBezTo>
                    <a:pt x="301" y="9"/>
                    <a:pt x="295" y="8"/>
                    <a:pt x="289" y="7"/>
                  </a:cubicBezTo>
                  <a:cubicBezTo>
                    <a:pt x="287" y="8"/>
                    <a:pt x="285" y="9"/>
                    <a:pt x="283" y="10"/>
                  </a:cubicBezTo>
                  <a:cubicBezTo>
                    <a:pt x="282" y="9"/>
                    <a:pt x="281" y="9"/>
                    <a:pt x="280" y="9"/>
                  </a:cubicBezTo>
                  <a:cubicBezTo>
                    <a:pt x="270" y="1"/>
                    <a:pt x="258" y="0"/>
                    <a:pt x="246" y="3"/>
                  </a:cubicBezTo>
                  <a:cubicBezTo>
                    <a:pt x="243" y="4"/>
                    <a:pt x="239" y="5"/>
                    <a:pt x="235" y="4"/>
                  </a:cubicBezTo>
                  <a:cubicBezTo>
                    <a:pt x="231" y="3"/>
                    <a:pt x="227" y="4"/>
                    <a:pt x="223" y="6"/>
                  </a:cubicBezTo>
                  <a:cubicBezTo>
                    <a:pt x="225" y="7"/>
                    <a:pt x="227" y="7"/>
                    <a:pt x="229" y="7"/>
                  </a:cubicBezTo>
                  <a:cubicBezTo>
                    <a:pt x="229" y="8"/>
                    <a:pt x="229" y="8"/>
                    <a:pt x="229" y="9"/>
                  </a:cubicBezTo>
                  <a:cubicBezTo>
                    <a:pt x="224" y="9"/>
                    <a:pt x="220" y="9"/>
                    <a:pt x="214" y="10"/>
                  </a:cubicBezTo>
                  <a:cubicBezTo>
                    <a:pt x="211" y="12"/>
                    <a:pt x="208" y="16"/>
                    <a:pt x="204" y="19"/>
                  </a:cubicBezTo>
                  <a:cubicBezTo>
                    <a:pt x="203" y="21"/>
                    <a:pt x="201" y="22"/>
                    <a:pt x="200" y="24"/>
                  </a:cubicBezTo>
                  <a:cubicBezTo>
                    <a:pt x="193" y="33"/>
                    <a:pt x="192" y="43"/>
                    <a:pt x="188" y="52"/>
                  </a:cubicBezTo>
                  <a:cubicBezTo>
                    <a:pt x="186" y="58"/>
                    <a:pt x="187" y="64"/>
                    <a:pt x="184" y="69"/>
                  </a:cubicBezTo>
                  <a:cubicBezTo>
                    <a:pt x="181" y="75"/>
                    <a:pt x="182" y="81"/>
                    <a:pt x="180" y="86"/>
                  </a:cubicBezTo>
                  <a:cubicBezTo>
                    <a:pt x="179" y="90"/>
                    <a:pt x="178" y="96"/>
                    <a:pt x="180" y="101"/>
                  </a:cubicBezTo>
                  <a:cubicBezTo>
                    <a:pt x="180" y="103"/>
                    <a:pt x="179" y="107"/>
                    <a:pt x="178" y="109"/>
                  </a:cubicBezTo>
                  <a:cubicBezTo>
                    <a:pt x="175" y="114"/>
                    <a:pt x="173" y="119"/>
                    <a:pt x="178" y="124"/>
                  </a:cubicBezTo>
                  <a:cubicBezTo>
                    <a:pt x="178" y="125"/>
                    <a:pt x="178" y="126"/>
                    <a:pt x="178" y="127"/>
                  </a:cubicBezTo>
                  <a:cubicBezTo>
                    <a:pt x="179" y="133"/>
                    <a:pt x="180" y="140"/>
                    <a:pt x="181" y="146"/>
                  </a:cubicBezTo>
                  <a:cubicBezTo>
                    <a:pt x="182" y="153"/>
                    <a:pt x="182" y="159"/>
                    <a:pt x="182" y="165"/>
                  </a:cubicBezTo>
                  <a:cubicBezTo>
                    <a:pt x="181" y="169"/>
                    <a:pt x="181" y="172"/>
                    <a:pt x="182" y="175"/>
                  </a:cubicBezTo>
                  <a:cubicBezTo>
                    <a:pt x="184" y="178"/>
                    <a:pt x="186" y="182"/>
                    <a:pt x="188" y="186"/>
                  </a:cubicBezTo>
                  <a:cubicBezTo>
                    <a:pt x="182" y="184"/>
                    <a:pt x="178" y="180"/>
                    <a:pt x="174" y="176"/>
                  </a:cubicBezTo>
                  <a:cubicBezTo>
                    <a:pt x="175" y="186"/>
                    <a:pt x="182" y="190"/>
                    <a:pt x="191" y="192"/>
                  </a:cubicBezTo>
                  <a:cubicBezTo>
                    <a:pt x="190" y="196"/>
                    <a:pt x="186" y="199"/>
                    <a:pt x="187" y="204"/>
                  </a:cubicBezTo>
                  <a:cubicBezTo>
                    <a:pt x="189" y="203"/>
                    <a:pt x="191" y="202"/>
                    <a:pt x="192" y="201"/>
                  </a:cubicBezTo>
                  <a:cubicBezTo>
                    <a:pt x="194" y="205"/>
                    <a:pt x="195" y="208"/>
                    <a:pt x="197" y="210"/>
                  </a:cubicBezTo>
                  <a:cubicBezTo>
                    <a:pt x="199" y="213"/>
                    <a:pt x="202" y="216"/>
                    <a:pt x="201" y="219"/>
                  </a:cubicBezTo>
                  <a:cubicBezTo>
                    <a:pt x="201" y="223"/>
                    <a:pt x="199" y="225"/>
                    <a:pt x="196" y="228"/>
                  </a:cubicBezTo>
                  <a:cubicBezTo>
                    <a:pt x="196" y="228"/>
                    <a:pt x="196" y="229"/>
                    <a:pt x="195" y="229"/>
                  </a:cubicBezTo>
                  <a:cubicBezTo>
                    <a:pt x="193" y="231"/>
                    <a:pt x="191" y="233"/>
                    <a:pt x="190" y="235"/>
                  </a:cubicBezTo>
                  <a:cubicBezTo>
                    <a:pt x="188" y="238"/>
                    <a:pt x="186" y="241"/>
                    <a:pt x="184" y="243"/>
                  </a:cubicBezTo>
                  <a:cubicBezTo>
                    <a:pt x="181" y="247"/>
                    <a:pt x="177" y="250"/>
                    <a:pt x="174" y="253"/>
                  </a:cubicBezTo>
                  <a:cubicBezTo>
                    <a:pt x="171" y="256"/>
                    <a:pt x="167" y="259"/>
                    <a:pt x="164" y="261"/>
                  </a:cubicBezTo>
                  <a:cubicBezTo>
                    <a:pt x="161" y="263"/>
                    <a:pt x="158" y="266"/>
                    <a:pt x="155" y="268"/>
                  </a:cubicBezTo>
                  <a:cubicBezTo>
                    <a:pt x="145" y="274"/>
                    <a:pt x="134" y="280"/>
                    <a:pt x="123" y="285"/>
                  </a:cubicBezTo>
                  <a:cubicBezTo>
                    <a:pt x="115" y="290"/>
                    <a:pt x="106" y="294"/>
                    <a:pt x="98" y="298"/>
                  </a:cubicBezTo>
                  <a:cubicBezTo>
                    <a:pt x="92" y="301"/>
                    <a:pt x="87" y="303"/>
                    <a:pt x="82" y="306"/>
                  </a:cubicBezTo>
                  <a:cubicBezTo>
                    <a:pt x="71" y="312"/>
                    <a:pt x="61" y="319"/>
                    <a:pt x="51" y="324"/>
                  </a:cubicBezTo>
                  <a:cubicBezTo>
                    <a:pt x="44" y="327"/>
                    <a:pt x="40" y="331"/>
                    <a:pt x="36" y="338"/>
                  </a:cubicBezTo>
                  <a:cubicBezTo>
                    <a:pt x="29" y="350"/>
                    <a:pt x="26" y="364"/>
                    <a:pt x="23" y="378"/>
                  </a:cubicBezTo>
                  <a:cubicBezTo>
                    <a:pt x="21" y="389"/>
                    <a:pt x="21" y="399"/>
                    <a:pt x="24" y="409"/>
                  </a:cubicBezTo>
                  <a:cubicBezTo>
                    <a:pt x="26" y="416"/>
                    <a:pt x="24" y="421"/>
                    <a:pt x="21" y="427"/>
                  </a:cubicBezTo>
                  <a:cubicBezTo>
                    <a:pt x="19" y="431"/>
                    <a:pt x="16" y="435"/>
                    <a:pt x="15" y="439"/>
                  </a:cubicBezTo>
                  <a:cubicBezTo>
                    <a:pt x="12" y="449"/>
                    <a:pt x="12" y="458"/>
                    <a:pt x="15" y="468"/>
                  </a:cubicBezTo>
                  <a:cubicBezTo>
                    <a:pt x="16" y="475"/>
                    <a:pt x="18" y="483"/>
                    <a:pt x="19" y="490"/>
                  </a:cubicBezTo>
                  <a:cubicBezTo>
                    <a:pt x="11" y="499"/>
                    <a:pt x="10" y="511"/>
                    <a:pt x="12" y="523"/>
                  </a:cubicBezTo>
                  <a:cubicBezTo>
                    <a:pt x="13" y="530"/>
                    <a:pt x="13" y="537"/>
                    <a:pt x="10" y="544"/>
                  </a:cubicBezTo>
                  <a:cubicBezTo>
                    <a:pt x="10" y="546"/>
                    <a:pt x="9" y="548"/>
                    <a:pt x="9" y="550"/>
                  </a:cubicBezTo>
                  <a:cubicBezTo>
                    <a:pt x="8" y="560"/>
                    <a:pt x="5" y="569"/>
                    <a:pt x="3" y="579"/>
                  </a:cubicBezTo>
                  <a:cubicBezTo>
                    <a:pt x="2" y="586"/>
                    <a:pt x="1" y="594"/>
                    <a:pt x="0" y="601"/>
                  </a:cubicBezTo>
                  <a:cubicBezTo>
                    <a:pt x="0" y="609"/>
                    <a:pt x="1" y="616"/>
                    <a:pt x="2" y="624"/>
                  </a:cubicBezTo>
                  <a:cubicBezTo>
                    <a:pt x="2" y="625"/>
                    <a:pt x="1" y="627"/>
                    <a:pt x="1" y="629"/>
                  </a:cubicBezTo>
                  <a:cubicBezTo>
                    <a:pt x="1" y="638"/>
                    <a:pt x="1" y="648"/>
                    <a:pt x="1" y="658"/>
                  </a:cubicBezTo>
                  <a:cubicBezTo>
                    <a:pt x="2" y="667"/>
                    <a:pt x="5" y="676"/>
                    <a:pt x="10" y="685"/>
                  </a:cubicBezTo>
                  <a:cubicBezTo>
                    <a:pt x="11" y="689"/>
                    <a:pt x="12" y="693"/>
                    <a:pt x="13" y="697"/>
                  </a:cubicBezTo>
                  <a:cubicBezTo>
                    <a:pt x="18" y="710"/>
                    <a:pt x="22" y="722"/>
                    <a:pt x="27" y="735"/>
                  </a:cubicBezTo>
                  <a:cubicBezTo>
                    <a:pt x="32" y="749"/>
                    <a:pt x="40" y="763"/>
                    <a:pt x="43" y="778"/>
                  </a:cubicBezTo>
                  <a:cubicBezTo>
                    <a:pt x="45" y="785"/>
                    <a:pt x="48" y="793"/>
                    <a:pt x="49" y="800"/>
                  </a:cubicBezTo>
                  <a:cubicBezTo>
                    <a:pt x="49" y="808"/>
                    <a:pt x="52" y="815"/>
                    <a:pt x="56" y="821"/>
                  </a:cubicBezTo>
                  <a:cubicBezTo>
                    <a:pt x="58" y="824"/>
                    <a:pt x="60" y="826"/>
                    <a:pt x="61" y="828"/>
                  </a:cubicBezTo>
                  <a:cubicBezTo>
                    <a:pt x="62" y="834"/>
                    <a:pt x="62" y="839"/>
                    <a:pt x="64" y="843"/>
                  </a:cubicBezTo>
                  <a:cubicBezTo>
                    <a:pt x="68" y="849"/>
                    <a:pt x="69" y="855"/>
                    <a:pt x="69" y="862"/>
                  </a:cubicBezTo>
                  <a:cubicBezTo>
                    <a:pt x="68" y="883"/>
                    <a:pt x="68" y="904"/>
                    <a:pt x="67" y="925"/>
                  </a:cubicBezTo>
                  <a:cubicBezTo>
                    <a:pt x="67" y="930"/>
                    <a:pt x="66" y="936"/>
                    <a:pt x="66" y="941"/>
                  </a:cubicBezTo>
                  <a:cubicBezTo>
                    <a:pt x="66" y="943"/>
                    <a:pt x="66" y="945"/>
                    <a:pt x="66" y="948"/>
                  </a:cubicBezTo>
                  <a:cubicBezTo>
                    <a:pt x="77" y="946"/>
                    <a:pt x="87" y="944"/>
                    <a:pt x="97" y="942"/>
                  </a:cubicBezTo>
                  <a:cubicBezTo>
                    <a:pt x="98" y="959"/>
                    <a:pt x="99" y="976"/>
                    <a:pt x="100" y="992"/>
                  </a:cubicBezTo>
                  <a:cubicBezTo>
                    <a:pt x="100" y="1014"/>
                    <a:pt x="99" y="1037"/>
                    <a:pt x="101" y="1059"/>
                  </a:cubicBezTo>
                  <a:cubicBezTo>
                    <a:pt x="102" y="1060"/>
                    <a:pt x="101" y="1060"/>
                    <a:pt x="102" y="1061"/>
                  </a:cubicBezTo>
                  <a:cubicBezTo>
                    <a:pt x="104" y="1071"/>
                    <a:pt x="105" y="1080"/>
                    <a:pt x="103" y="1090"/>
                  </a:cubicBezTo>
                  <a:cubicBezTo>
                    <a:pt x="103" y="1093"/>
                    <a:pt x="102" y="1097"/>
                    <a:pt x="102" y="1100"/>
                  </a:cubicBezTo>
                  <a:cubicBezTo>
                    <a:pt x="101" y="1108"/>
                    <a:pt x="100" y="1115"/>
                    <a:pt x="100" y="1122"/>
                  </a:cubicBezTo>
                  <a:cubicBezTo>
                    <a:pt x="99" y="1136"/>
                    <a:pt x="97" y="1149"/>
                    <a:pt x="97" y="1162"/>
                  </a:cubicBezTo>
                  <a:cubicBezTo>
                    <a:pt x="96" y="1181"/>
                    <a:pt x="96" y="1200"/>
                    <a:pt x="97" y="1219"/>
                  </a:cubicBezTo>
                  <a:cubicBezTo>
                    <a:pt x="97" y="1224"/>
                    <a:pt x="98" y="1230"/>
                    <a:pt x="98" y="1236"/>
                  </a:cubicBezTo>
                  <a:cubicBezTo>
                    <a:pt x="98" y="1238"/>
                    <a:pt x="98" y="1241"/>
                    <a:pt x="98" y="1244"/>
                  </a:cubicBezTo>
                  <a:cubicBezTo>
                    <a:pt x="98" y="1248"/>
                    <a:pt x="97" y="1252"/>
                    <a:pt x="97" y="1257"/>
                  </a:cubicBezTo>
                  <a:cubicBezTo>
                    <a:pt x="97" y="1261"/>
                    <a:pt x="98" y="1265"/>
                    <a:pt x="98" y="1270"/>
                  </a:cubicBezTo>
                  <a:cubicBezTo>
                    <a:pt x="99" y="1281"/>
                    <a:pt x="99" y="1293"/>
                    <a:pt x="99" y="1305"/>
                  </a:cubicBezTo>
                  <a:cubicBezTo>
                    <a:pt x="101" y="1327"/>
                    <a:pt x="101" y="1349"/>
                    <a:pt x="101" y="1371"/>
                  </a:cubicBezTo>
                  <a:cubicBezTo>
                    <a:pt x="102" y="1379"/>
                    <a:pt x="101" y="1387"/>
                    <a:pt x="102" y="1396"/>
                  </a:cubicBezTo>
                  <a:cubicBezTo>
                    <a:pt x="102" y="1407"/>
                    <a:pt x="104" y="1419"/>
                    <a:pt x="105" y="1430"/>
                  </a:cubicBezTo>
                  <a:cubicBezTo>
                    <a:pt x="105" y="1444"/>
                    <a:pt x="106" y="1458"/>
                    <a:pt x="111" y="1471"/>
                  </a:cubicBezTo>
                  <a:cubicBezTo>
                    <a:pt x="114" y="1481"/>
                    <a:pt x="116" y="1492"/>
                    <a:pt x="114" y="1503"/>
                  </a:cubicBezTo>
                  <a:cubicBezTo>
                    <a:pt x="110" y="1506"/>
                    <a:pt x="105" y="1509"/>
                    <a:pt x="105" y="1515"/>
                  </a:cubicBezTo>
                  <a:cubicBezTo>
                    <a:pt x="104" y="1528"/>
                    <a:pt x="105" y="1540"/>
                    <a:pt x="112" y="1552"/>
                  </a:cubicBezTo>
                  <a:cubicBezTo>
                    <a:pt x="116" y="1559"/>
                    <a:pt x="121" y="1567"/>
                    <a:pt x="123" y="1575"/>
                  </a:cubicBezTo>
                  <a:cubicBezTo>
                    <a:pt x="125" y="1583"/>
                    <a:pt x="126" y="1590"/>
                    <a:pt x="121" y="1598"/>
                  </a:cubicBezTo>
                  <a:cubicBezTo>
                    <a:pt x="118" y="1603"/>
                    <a:pt x="118" y="1610"/>
                    <a:pt x="124" y="1615"/>
                  </a:cubicBezTo>
                  <a:cubicBezTo>
                    <a:pt x="128" y="1618"/>
                    <a:pt x="130" y="1623"/>
                    <a:pt x="131" y="1628"/>
                  </a:cubicBezTo>
                  <a:cubicBezTo>
                    <a:pt x="132" y="1638"/>
                    <a:pt x="138" y="1645"/>
                    <a:pt x="147" y="1648"/>
                  </a:cubicBezTo>
                  <a:cubicBezTo>
                    <a:pt x="163" y="1655"/>
                    <a:pt x="179" y="1661"/>
                    <a:pt x="195" y="1667"/>
                  </a:cubicBezTo>
                  <a:cubicBezTo>
                    <a:pt x="204" y="1670"/>
                    <a:pt x="215" y="1672"/>
                    <a:pt x="225" y="1672"/>
                  </a:cubicBezTo>
                  <a:cubicBezTo>
                    <a:pt x="237" y="1671"/>
                    <a:pt x="248" y="1659"/>
                    <a:pt x="252" y="1648"/>
                  </a:cubicBezTo>
                  <a:cubicBezTo>
                    <a:pt x="255" y="1639"/>
                    <a:pt x="246" y="1630"/>
                    <a:pt x="247" y="1621"/>
                  </a:cubicBezTo>
                  <a:cubicBezTo>
                    <a:pt x="247" y="1616"/>
                    <a:pt x="245" y="1611"/>
                    <a:pt x="243" y="1607"/>
                  </a:cubicBezTo>
                  <a:cubicBezTo>
                    <a:pt x="236" y="1593"/>
                    <a:pt x="228" y="1580"/>
                    <a:pt x="221" y="1566"/>
                  </a:cubicBezTo>
                  <a:cubicBezTo>
                    <a:pt x="222" y="1563"/>
                    <a:pt x="223" y="1560"/>
                    <a:pt x="224" y="1557"/>
                  </a:cubicBezTo>
                  <a:cubicBezTo>
                    <a:pt x="227" y="1551"/>
                    <a:pt x="229" y="1546"/>
                    <a:pt x="231" y="1540"/>
                  </a:cubicBezTo>
                  <a:cubicBezTo>
                    <a:pt x="235" y="1531"/>
                    <a:pt x="238" y="1522"/>
                    <a:pt x="241" y="1513"/>
                  </a:cubicBezTo>
                  <a:cubicBezTo>
                    <a:pt x="244" y="1507"/>
                    <a:pt x="245" y="1502"/>
                    <a:pt x="244" y="1496"/>
                  </a:cubicBezTo>
                  <a:cubicBezTo>
                    <a:pt x="241" y="1481"/>
                    <a:pt x="238" y="1466"/>
                    <a:pt x="233" y="1452"/>
                  </a:cubicBezTo>
                  <a:cubicBezTo>
                    <a:pt x="231" y="1447"/>
                    <a:pt x="229" y="1443"/>
                    <a:pt x="225" y="1439"/>
                  </a:cubicBezTo>
                  <a:cubicBezTo>
                    <a:pt x="217" y="1430"/>
                    <a:pt x="210" y="1421"/>
                    <a:pt x="206" y="1409"/>
                  </a:cubicBezTo>
                  <a:cubicBezTo>
                    <a:pt x="211" y="1393"/>
                    <a:pt x="213" y="1376"/>
                    <a:pt x="213" y="1359"/>
                  </a:cubicBezTo>
                  <a:cubicBezTo>
                    <a:pt x="213" y="1346"/>
                    <a:pt x="212" y="1334"/>
                    <a:pt x="214" y="1320"/>
                  </a:cubicBezTo>
                  <a:cubicBezTo>
                    <a:pt x="216" y="1312"/>
                    <a:pt x="215" y="1303"/>
                    <a:pt x="216" y="1294"/>
                  </a:cubicBezTo>
                  <a:cubicBezTo>
                    <a:pt x="217" y="1286"/>
                    <a:pt x="218" y="1280"/>
                    <a:pt x="222" y="1273"/>
                  </a:cubicBezTo>
                  <a:cubicBezTo>
                    <a:pt x="231" y="1255"/>
                    <a:pt x="236" y="1235"/>
                    <a:pt x="241" y="1216"/>
                  </a:cubicBezTo>
                  <a:cubicBezTo>
                    <a:pt x="242" y="1211"/>
                    <a:pt x="243" y="1207"/>
                    <a:pt x="245" y="1202"/>
                  </a:cubicBezTo>
                  <a:cubicBezTo>
                    <a:pt x="245" y="1202"/>
                    <a:pt x="246" y="1202"/>
                    <a:pt x="246" y="1202"/>
                  </a:cubicBezTo>
                  <a:cubicBezTo>
                    <a:pt x="247" y="1208"/>
                    <a:pt x="247" y="1214"/>
                    <a:pt x="246" y="1221"/>
                  </a:cubicBezTo>
                  <a:cubicBezTo>
                    <a:pt x="246" y="1224"/>
                    <a:pt x="246" y="1226"/>
                    <a:pt x="246" y="1229"/>
                  </a:cubicBezTo>
                  <a:cubicBezTo>
                    <a:pt x="245" y="1231"/>
                    <a:pt x="245" y="1233"/>
                    <a:pt x="245" y="1235"/>
                  </a:cubicBezTo>
                  <a:cubicBezTo>
                    <a:pt x="245" y="1243"/>
                    <a:pt x="244" y="1252"/>
                    <a:pt x="244" y="1260"/>
                  </a:cubicBezTo>
                  <a:cubicBezTo>
                    <a:pt x="243" y="1266"/>
                    <a:pt x="245" y="1272"/>
                    <a:pt x="245" y="1278"/>
                  </a:cubicBezTo>
                  <a:cubicBezTo>
                    <a:pt x="245" y="1287"/>
                    <a:pt x="247" y="1297"/>
                    <a:pt x="242" y="1306"/>
                  </a:cubicBezTo>
                  <a:cubicBezTo>
                    <a:pt x="242" y="1318"/>
                    <a:pt x="241" y="1329"/>
                    <a:pt x="242" y="1340"/>
                  </a:cubicBezTo>
                  <a:cubicBezTo>
                    <a:pt x="243" y="1354"/>
                    <a:pt x="246" y="1368"/>
                    <a:pt x="246" y="1381"/>
                  </a:cubicBezTo>
                  <a:cubicBezTo>
                    <a:pt x="248" y="1397"/>
                    <a:pt x="252" y="1412"/>
                    <a:pt x="259" y="1426"/>
                  </a:cubicBezTo>
                  <a:cubicBezTo>
                    <a:pt x="263" y="1434"/>
                    <a:pt x="265" y="1441"/>
                    <a:pt x="265" y="1450"/>
                  </a:cubicBezTo>
                  <a:cubicBezTo>
                    <a:pt x="264" y="1452"/>
                    <a:pt x="264" y="1454"/>
                    <a:pt x="264" y="1456"/>
                  </a:cubicBezTo>
                  <a:cubicBezTo>
                    <a:pt x="263" y="1460"/>
                    <a:pt x="263" y="1464"/>
                    <a:pt x="263" y="1468"/>
                  </a:cubicBezTo>
                  <a:cubicBezTo>
                    <a:pt x="264" y="1479"/>
                    <a:pt x="266" y="1490"/>
                    <a:pt x="266" y="1500"/>
                  </a:cubicBezTo>
                  <a:cubicBezTo>
                    <a:pt x="267" y="1509"/>
                    <a:pt x="266" y="1518"/>
                    <a:pt x="266" y="1526"/>
                  </a:cubicBezTo>
                  <a:cubicBezTo>
                    <a:pt x="266" y="1533"/>
                    <a:pt x="267" y="1539"/>
                    <a:pt x="264" y="1545"/>
                  </a:cubicBezTo>
                  <a:cubicBezTo>
                    <a:pt x="263" y="1546"/>
                    <a:pt x="263" y="1549"/>
                    <a:pt x="263" y="1551"/>
                  </a:cubicBezTo>
                  <a:cubicBezTo>
                    <a:pt x="263" y="1554"/>
                    <a:pt x="263" y="1557"/>
                    <a:pt x="262" y="1559"/>
                  </a:cubicBezTo>
                  <a:cubicBezTo>
                    <a:pt x="259" y="1567"/>
                    <a:pt x="265" y="1571"/>
                    <a:pt x="271" y="1573"/>
                  </a:cubicBezTo>
                  <a:cubicBezTo>
                    <a:pt x="283" y="1576"/>
                    <a:pt x="295" y="1577"/>
                    <a:pt x="307" y="1578"/>
                  </a:cubicBezTo>
                  <a:cubicBezTo>
                    <a:pt x="324" y="1578"/>
                    <a:pt x="340" y="1578"/>
                    <a:pt x="357" y="1577"/>
                  </a:cubicBezTo>
                  <a:cubicBezTo>
                    <a:pt x="370" y="1575"/>
                    <a:pt x="383" y="1578"/>
                    <a:pt x="396" y="1578"/>
                  </a:cubicBezTo>
                  <a:cubicBezTo>
                    <a:pt x="396" y="1578"/>
                    <a:pt x="397" y="1579"/>
                    <a:pt x="397" y="1579"/>
                  </a:cubicBezTo>
                  <a:cubicBezTo>
                    <a:pt x="414" y="1582"/>
                    <a:pt x="431" y="1585"/>
                    <a:pt x="448" y="1585"/>
                  </a:cubicBezTo>
                  <a:cubicBezTo>
                    <a:pt x="464" y="1584"/>
                    <a:pt x="480" y="1585"/>
                    <a:pt x="495" y="1584"/>
                  </a:cubicBezTo>
                  <a:cubicBezTo>
                    <a:pt x="503" y="1584"/>
                    <a:pt x="510" y="1583"/>
                    <a:pt x="517" y="1583"/>
                  </a:cubicBezTo>
                  <a:cubicBezTo>
                    <a:pt x="522" y="1582"/>
                    <a:pt x="527" y="1580"/>
                    <a:pt x="531" y="1576"/>
                  </a:cubicBezTo>
                  <a:cubicBezTo>
                    <a:pt x="541" y="1569"/>
                    <a:pt x="548" y="1557"/>
                    <a:pt x="540" y="1547"/>
                  </a:cubicBezTo>
                  <a:cubicBezTo>
                    <a:pt x="538" y="1543"/>
                    <a:pt x="533" y="1537"/>
                    <a:pt x="529" y="15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9">
              <a:extLst>
                <a:ext uri="{FF2B5EF4-FFF2-40B4-BE49-F238E27FC236}">
                  <a16:creationId xmlns:a16="http://schemas.microsoft.com/office/drawing/2014/main" id="{0ECEAFDD-5331-4374-B30C-C3B1B8C979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7850" y="2241551"/>
              <a:ext cx="779462" cy="3062288"/>
            </a:xfrm>
            <a:custGeom>
              <a:avLst/>
              <a:gdLst>
                <a:gd name="T0" fmla="*/ 391 w 417"/>
                <a:gd name="T1" fmla="*/ 365 h 1641"/>
                <a:gd name="T2" fmla="*/ 350 w 417"/>
                <a:gd name="T3" fmla="*/ 289 h 1641"/>
                <a:gd name="T4" fmla="*/ 298 w 417"/>
                <a:gd name="T5" fmla="*/ 267 h 1641"/>
                <a:gd name="T6" fmla="*/ 284 w 417"/>
                <a:gd name="T7" fmla="*/ 246 h 1641"/>
                <a:gd name="T8" fmla="*/ 283 w 417"/>
                <a:gd name="T9" fmla="*/ 226 h 1641"/>
                <a:gd name="T10" fmla="*/ 289 w 417"/>
                <a:gd name="T11" fmla="*/ 216 h 1641"/>
                <a:gd name="T12" fmla="*/ 286 w 417"/>
                <a:gd name="T13" fmla="*/ 195 h 1641"/>
                <a:gd name="T14" fmla="*/ 301 w 417"/>
                <a:gd name="T15" fmla="*/ 200 h 1641"/>
                <a:gd name="T16" fmla="*/ 287 w 417"/>
                <a:gd name="T17" fmla="*/ 163 h 1641"/>
                <a:gd name="T18" fmla="*/ 278 w 417"/>
                <a:gd name="T19" fmla="*/ 91 h 1641"/>
                <a:gd name="T20" fmla="*/ 165 w 417"/>
                <a:gd name="T21" fmla="*/ 7 h 1641"/>
                <a:gd name="T22" fmla="*/ 116 w 417"/>
                <a:gd name="T23" fmla="*/ 30 h 1641"/>
                <a:gd name="T24" fmla="*/ 84 w 417"/>
                <a:gd name="T25" fmla="*/ 135 h 1641"/>
                <a:gd name="T26" fmla="*/ 85 w 417"/>
                <a:gd name="T27" fmla="*/ 184 h 1641"/>
                <a:gd name="T28" fmla="*/ 77 w 417"/>
                <a:gd name="T29" fmla="*/ 203 h 1641"/>
                <a:gd name="T30" fmla="*/ 70 w 417"/>
                <a:gd name="T31" fmla="*/ 214 h 1641"/>
                <a:gd name="T32" fmla="*/ 86 w 417"/>
                <a:gd name="T33" fmla="*/ 245 h 1641"/>
                <a:gd name="T34" fmla="*/ 67 w 417"/>
                <a:gd name="T35" fmla="*/ 264 h 1641"/>
                <a:gd name="T36" fmla="*/ 33 w 417"/>
                <a:gd name="T37" fmla="*/ 274 h 1641"/>
                <a:gd name="T38" fmla="*/ 0 w 417"/>
                <a:gd name="T39" fmla="*/ 346 h 1641"/>
                <a:gd name="T40" fmla="*/ 10 w 417"/>
                <a:gd name="T41" fmla="*/ 453 h 1641"/>
                <a:gd name="T42" fmla="*/ 62 w 417"/>
                <a:gd name="T43" fmla="*/ 565 h 1641"/>
                <a:gd name="T44" fmla="*/ 63 w 417"/>
                <a:gd name="T45" fmla="*/ 578 h 1641"/>
                <a:gd name="T46" fmla="*/ 51 w 417"/>
                <a:gd name="T47" fmla="*/ 631 h 1641"/>
                <a:gd name="T48" fmla="*/ 35 w 417"/>
                <a:gd name="T49" fmla="*/ 692 h 1641"/>
                <a:gd name="T50" fmla="*/ 25 w 417"/>
                <a:gd name="T51" fmla="*/ 787 h 1641"/>
                <a:gd name="T52" fmla="*/ 30 w 417"/>
                <a:gd name="T53" fmla="*/ 930 h 1641"/>
                <a:gd name="T54" fmla="*/ 39 w 417"/>
                <a:gd name="T55" fmla="*/ 1011 h 1641"/>
                <a:gd name="T56" fmla="*/ 49 w 417"/>
                <a:gd name="T57" fmla="*/ 1112 h 1641"/>
                <a:gd name="T58" fmla="*/ 70 w 417"/>
                <a:gd name="T59" fmla="*/ 1140 h 1641"/>
                <a:gd name="T60" fmla="*/ 71 w 417"/>
                <a:gd name="T61" fmla="*/ 1238 h 1641"/>
                <a:gd name="T62" fmla="*/ 119 w 417"/>
                <a:gd name="T63" fmla="*/ 1427 h 1641"/>
                <a:gd name="T64" fmla="*/ 124 w 417"/>
                <a:gd name="T65" fmla="*/ 1511 h 1641"/>
                <a:gd name="T66" fmla="*/ 115 w 417"/>
                <a:gd name="T67" fmla="*/ 1581 h 1641"/>
                <a:gd name="T68" fmla="*/ 163 w 417"/>
                <a:gd name="T69" fmla="*/ 1633 h 1641"/>
                <a:gd name="T70" fmla="*/ 188 w 417"/>
                <a:gd name="T71" fmla="*/ 1588 h 1641"/>
                <a:gd name="T72" fmla="*/ 214 w 417"/>
                <a:gd name="T73" fmla="*/ 1583 h 1641"/>
                <a:gd name="T74" fmla="*/ 289 w 417"/>
                <a:gd name="T75" fmla="*/ 1591 h 1641"/>
                <a:gd name="T76" fmla="*/ 304 w 417"/>
                <a:gd name="T77" fmla="*/ 1566 h 1641"/>
                <a:gd name="T78" fmla="*/ 230 w 417"/>
                <a:gd name="T79" fmla="*/ 1491 h 1641"/>
                <a:gd name="T80" fmla="*/ 224 w 417"/>
                <a:gd name="T81" fmla="*/ 1412 h 1641"/>
                <a:gd name="T82" fmla="*/ 287 w 417"/>
                <a:gd name="T83" fmla="*/ 1230 h 1641"/>
                <a:gd name="T84" fmla="*/ 302 w 417"/>
                <a:gd name="T85" fmla="*/ 1163 h 1641"/>
                <a:gd name="T86" fmla="*/ 333 w 417"/>
                <a:gd name="T87" fmla="*/ 1112 h 1641"/>
                <a:gd name="T88" fmla="*/ 339 w 417"/>
                <a:gd name="T89" fmla="*/ 1053 h 1641"/>
                <a:gd name="T90" fmla="*/ 353 w 417"/>
                <a:gd name="T91" fmla="*/ 939 h 1641"/>
                <a:gd name="T92" fmla="*/ 358 w 417"/>
                <a:gd name="T93" fmla="*/ 781 h 1641"/>
                <a:gd name="T94" fmla="*/ 354 w 417"/>
                <a:gd name="T95" fmla="*/ 725 h 1641"/>
                <a:gd name="T96" fmla="*/ 352 w 417"/>
                <a:gd name="T97" fmla="*/ 684 h 1641"/>
                <a:gd name="T98" fmla="*/ 350 w 417"/>
                <a:gd name="T99" fmla="*/ 648 h 1641"/>
                <a:gd name="T100" fmla="*/ 367 w 417"/>
                <a:gd name="T101" fmla="*/ 600 h 1641"/>
                <a:gd name="T102" fmla="*/ 403 w 417"/>
                <a:gd name="T103" fmla="*/ 577 h 1641"/>
                <a:gd name="T104" fmla="*/ 415 w 417"/>
                <a:gd name="T105" fmla="*/ 500 h 1641"/>
                <a:gd name="T106" fmla="*/ 205 w 417"/>
                <a:gd name="T107" fmla="*/ 1152 h 1641"/>
                <a:gd name="T108" fmla="*/ 183 w 417"/>
                <a:gd name="T109" fmla="*/ 1211 h 1641"/>
                <a:gd name="T110" fmla="*/ 184 w 417"/>
                <a:gd name="T111" fmla="*/ 1260 h 1641"/>
                <a:gd name="T112" fmla="*/ 178 w 417"/>
                <a:gd name="T113" fmla="*/ 1293 h 1641"/>
                <a:gd name="T114" fmla="*/ 174 w 417"/>
                <a:gd name="T115" fmla="*/ 1316 h 1641"/>
                <a:gd name="T116" fmla="*/ 171 w 417"/>
                <a:gd name="T117" fmla="*/ 1201 h 1641"/>
                <a:gd name="T118" fmla="*/ 178 w 417"/>
                <a:gd name="T119" fmla="*/ 1146 h 1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7" h="1641">
                  <a:moveTo>
                    <a:pt x="410" y="464"/>
                  </a:moveTo>
                  <a:cubicBezTo>
                    <a:pt x="407" y="446"/>
                    <a:pt x="403" y="429"/>
                    <a:pt x="400" y="411"/>
                  </a:cubicBezTo>
                  <a:cubicBezTo>
                    <a:pt x="397" y="396"/>
                    <a:pt x="393" y="380"/>
                    <a:pt x="391" y="365"/>
                  </a:cubicBezTo>
                  <a:cubicBezTo>
                    <a:pt x="387" y="340"/>
                    <a:pt x="377" y="319"/>
                    <a:pt x="366" y="298"/>
                  </a:cubicBezTo>
                  <a:cubicBezTo>
                    <a:pt x="364" y="293"/>
                    <a:pt x="359" y="290"/>
                    <a:pt x="354" y="290"/>
                  </a:cubicBezTo>
                  <a:cubicBezTo>
                    <a:pt x="352" y="290"/>
                    <a:pt x="351" y="290"/>
                    <a:pt x="350" y="289"/>
                  </a:cubicBezTo>
                  <a:cubicBezTo>
                    <a:pt x="340" y="287"/>
                    <a:pt x="331" y="285"/>
                    <a:pt x="320" y="283"/>
                  </a:cubicBezTo>
                  <a:cubicBezTo>
                    <a:pt x="315" y="279"/>
                    <a:pt x="308" y="275"/>
                    <a:pt x="302" y="271"/>
                  </a:cubicBezTo>
                  <a:cubicBezTo>
                    <a:pt x="300" y="270"/>
                    <a:pt x="299" y="269"/>
                    <a:pt x="298" y="267"/>
                  </a:cubicBezTo>
                  <a:cubicBezTo>
                    <a:pt x="303" y="267"/>
                    <a:pt x="307" y="266"/>
                    <a:pt x="311" y="266"/>
                  </a:cubicBezTo>
                  <a:cubicBezTo>
                    <a:pt x="304" y="263"/>
                    <a:pt x="297" y="259"/>
                    <a:pt x="290" y="256"/>
                  </a:cubicBezTo>
                  <a:cubicBezTo>
                    <a:pt x="290" y="251"/>
                    <a:pt x="287" y="249"/>
                    <a:pt x="284" y="246"/>
                  </a:cubicBezTo>
                  <a:cubicBezTo>
                    <a:pt x="282" y="243"/>
                    <a:pt x="279" y="241"/>
                    <a:pt x="277" y="238"/>
                  </a:cubicBezTo>
                  <a:cubicBezTo>
                    <a:pt x="282" y="241"/>
                    <a:pt x="287" y="238"/>
                    <a:pt x="292" y="238"/>
                  </a:cubicBezTo>
                  <a:cubicBezTo>
                    <a:pt x="289" y="234"/>
                    <a:pt x="286" y="230"/>
                    <a:pt x="283" y="226"/>
                  </a:cubicBezTo>
                  <a:cubicBezTo>
                    <a:pt x="277" y="221"/>
                    <a:pt x="275" y="214"/>
                    <a:pt x="275" y="206"/>
                  </a:cubicBezTo>
                  <a:cubicBezTo>
                    <a:pt x="275" y="204"/>
                    <a:pt x="276" y="203"/>
                    <a:pt x="277" y="200"/>
                  </a:cubicBezTo>
                  <a:cubicBezTo>
                    <a:pt x="280" y="207"/>
                    <a:pt x="282" y="211"/>
                    <a:pt x="289" y="216"/>
                  </a:cubicBezTo>
                  <a:cubicBezTo>
                    <a:pt x="286" y="211"/>
                    <a:pt x="285" y="208"/>
                    <a:pt x="283" y="205"/>
                  </a:cubicBezTo>
                  <a:cubicBezTo>
                    <a:pt x="287" y="203"/>
                    <a:pt x="285" y="200"/>
                    <a:pt x="285" y="197"/>
                  </a:cubicBezTo>
                  <a:cubicBezTo>
                    <a:pt x="284" y="197"/>
                    <a:pt x="285" y="196"/>
                    <a:pt x="286" y="195"/>
                  </a:cubicBezTo>
                  <a:cubicBezTo>
                    <a:pt x="287" y="196"/>
                    <a:pt x="288" y="197"/>
                    <a:pt x="288" y="198"/>
                  </a:cubicBezTo>
                  <a:cubicBezTo>
                    <a:pt x="289" y="198"/>
                    <a:pt x="290" y="197"/>
                    <a:pt x="291" y="197"/>
                  </a:cubicBezTo>
                  <a:cubicBezTo>
                    <a:pt x="294" y="198"/>
                    <a:pt x="296" y="203"/>
                    <a:pt x="301" y="200"/>
                  </a:cubicBezTo>
                  <a:cubicBezTo>
                    <a:pt x="296" y="191"/>
                    <a:pt x="291" y="182"/>
                    <a:pt x="288" y="173"/>
                  </a:cubicBezTo>
                  <a:cubicBezTo>
                    <a:pt x="289" y="173"/>
                    <a:pt x="290" y="172"/>
                    <a:pt x="291" y="172"/>
                  </a:cubicBezTo>
                  <a:cubicBezTo>
                    <a:pt x="289" y="168"/>
                    <a:pt x="288" y="165"/>
                    <a:pt x="287" y="163"/>
                  </a:cubicBezTo>
                  <a:cubicBezTo>
                    <a:pt x="287" y="161"/>
                    <a:pt x="288" y="159"/>
                    <a:pt x="288" y="158"/>
                  </a:cubicBezTo>
                  <a:cubicBezTo>
                    <a:pt x="288" y="155"/>
                    <a:pt x="287" y="152"/>
                    <a:pt x="288" y="149"/>
                  </a:cubicBezTo>
                  <a:cubicBezTo>
                    <a:pt x="289" y="129"/>
                    <a:pt x="284" y="110"/>
                    <a:pt x="278" y="91"/>
                  </a:cubicBezTo>
                  <a:cubicBezTo>
                    <a:pt x="271" y="70"/>
                    <a:pt x="259" y="52"/>
                    <a:pt x="244" y="36"/>
                  </a:cubicBezTo>
                  <a:cubicBezTo>
                    <a:pt x="227" y="18"/>
                    <a:pt x="205" y="8"/>
                    <a:pt x="181" y="2"/>
                  </a:cubicBezTo>
                  <a:cubicBezTo>
                    <a:pt x="176" y="1"/>
                    <a:pt x="169" y="0"/>
                    <a:pt x="165" y="7"/>
                  </a:cubicBezTo>
                  <a:cubicBezTo>
                    <a:pt x="163" y="9"/>
                    <a:pt x="160" y="10"/>
                    <a:pt x="157" y="8"/>
                  </a:cubicBezTo>
                  <a:cubicBezTo>
                    <a:pt x="151" y="5"/>
                    <a:pt x="145" y="6"/>
                    <a:pt x="140" y="9"/>
                  </a:cubicBezTo>
                  <a:cubicBezTo>
                    <a:pt x="131" y="14"/>
                    <a:pt x="121" y="20"/>
                    <a:pt x="116" y="30"/>
                  </a:cubicBezTo>
                  <a:cubicBezTo>
                    <a:pt x="115" y="32"/>
                    <a:pt x="113" y="34"/>
                    <a:pt x="111" y="37"/>
                  </a:cubicBezTo>
                  <a:cubicBezTo>
                    <a:pt x="104" y="49"/>
                    <a:pt x="97" y="61"/>
                    <a:pt x="93" y="74"/>
                  </a:cubicBezTo>
                  <a:cubicBezTo>
                    <a:pt x="85" y="94"/>
                    <a:pt x="85" y="114"/>
                    <a:pt x="84" y="135"/>
                  </a:cubicBezTo>
                  <a:cubicBezTo>
                    <a:pt x="83" y="138"/>
                    <a:pt x="85" y="142"/>
                    <a:pt x="85" y="145"/>
                  </a:cubicBezTo>
                  <a:cubicBezTo>
                    <a:pt x="85" y="156"/>
                    <a:pt x="85" y="168"/>
                    <a:pt x="85" y="180"/>
                  </a:cubicBezTo>
                  <a:cubicBezTo>
                    <a:pt x="85" y="181"/>
                    <a:pt x="85" y="183"/>
                    <a:pt x="85" y="184"/>
                  </a:cubicBezTo>
                  <a:cubicBezTo>
                    <a:pt x="81" y="190"/>
                    <a:pt x="78" y="196"/>
                    <a:pt x="75" y="203"/>
                  </a:cubicBezTo>
                  <a:cubicBezTo>
                    <a:pt x="75" y="203"/>
                    <a:pt x="75" y="203"/>
                    <a:pt x="75" y="204"/>
                  </a:cubicBezTo>
                  <a:cubicBezTo>
                    <a:pt x="76" y="204"/>
                    <a:pt x="77" y="204"/>
                    <a:pt x="77" y="203"/>
                  </a:cubicBezTo>
                  <a:cubicBezTo>
                    <a:pt x="78" y="203"/>
                    <a:pt x="79" y="203"/>
                    <a:pt x="80" y="202"/>
                  </a:cubicBezTo>
                  <a:cubicBezTo>
                    <a:pt x="80" y="202"/>
                    <a:pt x="80" y="203"/>
                    <a:pt x="80" y="203"/>
                  </a:cubicBezTo>
                  <a:cubicBezTo>
                    <a:pt x="77" y="206"/>
                    <a:pt x="74" y="210"/>
                    <a:pt x="70" y="214"/>
                  </a:cubicBezTo>
                  <a:cubicBezTo>
                    <a:pt x="74" y="214"/>
                    <a:pt x="76" y="214"/>
                    <a:pt x="77" y="215"/>
                  </a:cubicBezTo>
                  <a:cubicBezTo>
                    <a:pt x="82" y="219"/>
                    <a:pt x="80" y="223"/>
                    <a:pt x="78" y="228"/>
                  </a:cubicBezTo>
                  <a:cubicBezTo>
                    <a:pt x="84" y="232"/>
                    <a:pt x="83" y="239"/>
                    <a:pt x="86" y="245"/>
                  </a:cubicBezTo>
                  <a:cubicBezTo>
                    <a:pt x="85" y="246"/>
                    <a:pt x="83" y="249"/>
                    <a:pt x="81" y="251"/>
                  </a:cubicBezTo>
                  <a:cubicBezTo>
                    <a:pt x="81" y="253"/>
                    <a:pt x="81" y="255"/>
                    <a:pt x="82" y="257"/>
                  </a:cubicBezTo>
                  <a:cubicBezTo>
                    <a:pt x="77" y="261"/>
                    <a:pt x="72" y="263"/>
                    <a:pt x="67" y="264"/>
                  </a:cubicBezTo>
                  <a:cubicBezTo>
                    <a:pt x="61" y="265"/>
                    <a:pt x="56" y="262"/>
                    <a:pt x="51" y="258"/>
                  </a:cubicBezTo>
                  <a:cubicBezTo>
                    <a:pt x="52" y="262"/>
                    <a:pt x="53" y="267"/>
                    <a:pt x="54" y="271"/>
                  </a:cubicBezTo>
                  <a:cubicBezTo>
                    <a:pt x="47" y="272"/>
                    <a:pt x="40" y="274"/>
                    <a:pt x="33" y="274"/>
                  </a:cubicBezTo>
                  <a:cubicBezTo>
                    <a:pt x="25" y="275"/>
                    <a:pt x="20" y="278"/>
                    <a:pt x="17" y="285"/>
                  </a:cubicBezTo>
                  <a:cubicBezTo>
                    <a:pt x="12" y="296"/>
                    <a:pt x="7" y="307"/>
                    <a:pt x="4" y="318"/>
                  </a:cubicBezTo>
                  <a:cubicBezTo>
                    <a:pt x="2" y="327"/>
                    <a:pt x="1" y="337"/>
                    <a:pt x="0" y="346"/>
                  </a:cubicBezTo>
                  <a:cubicBezTo>
                    <a:pt x="0" y="356"/>
                    <a:pt x="2" y="365"/>
                    <a:pt x="2" y="374"/>
                  </a:cubicBezTo>
                  <a:cubicBezTo>
                    <a:pt x="2" y="385"/>
                    <a:pt x="2" y="396"/>
                    <a:pt x="2" y="407"/>
                  </a:cubicBezTo>
                  <a:cubicBezTo>
                    <a:pt x="2" y="423"/>
                    <a:pt x="4" y="438"/>
                    <a:pt x="10" y="453"/>
                  </a:cubicBezTo>
                  <a:cubicBezTo>
                    <a:pt x="15" y="469"/>
                    <a:pt x="21" y="484"/>
                    <a:pt x="28" y="499"/>
                  </a:cubicBezTo>
                  <a:cubicBezTo>
                    <a:pt x="35" y="516"/>
                    <a:pt x="45" y="531"/>
                    <a:pt x="56" y="546"/>
                  </a:cubicBezTo>
                  <a:cubicBezTo>
                    <a:pt x="61" y="551"/>
                    <a:pt x="63" y="558"/>
                    <a:pt x="62" y="565"/>
                  </a:cubicBezTo>
                  <a:cubicBezTo>
                    <a:pt x="61" y="567"/>
                    <a:pt x="61" y="569"/>
                    <a:pt x="62" y="571"/>
                  </a:cubicBezTo>
                  <a:cubicBezTo>
                    <a:pt x="62" y="572"/>
                    <a:pt x="63" y="573"/>
                    <a:pt x="63" y="575"/>
                  </a:cubicBezTo>
                  <a:cubicBezTo>
                    <a:pt x="63" y="576"/>
                    <a:pt x="63" y="577"/>
                    <a:pt x="63" y="578"/>
                  </a:cubicBezTo>
                  <a:cubicBezTo>
                    <a:pt x="63" y="581"/>
                    <a:pt x="62" y="583"/>
                    <a:pt x="61" y="586"/>
                  </a:cubicBezTo>
                  <a:cubicBezTo>
                    <a:pt x="58" y="594"/>
                    <a:pt x="57" y="603"/>
                    <a:pt x="55" y="611"/>
                  </a:cubicBezTo>
                  <a:cubicBezTo>
                    <a:pt x="53" y="618"/>
                    <a:pt x="51" y="624"/>
                    <a:pt x="51" y="631"/>
                  </a:cubicBezTo>
                  <a:cubicBezTo>
                    <a:pt x="51" y="639"/>
                    <a:pt x="49" y="646"/>
                    <a:pt x="44" y="652"/>
                  </a:cubicBezTo>
                  <a:cubicBezTo>
                    <a:pt x="38" y="662"/>
                    <a:pt x="35" y="673"/>
                    <a:pt x="33" y="684"/>
                  </a:cubicBezTo>
                  <a:cubicBezTo>
                    <a:pt x="33" y="686"/>
                    <a:pt x="34" y="689"/>
                    <a:pt x="35" y="692"/>
                  </a:cubicBezTo>
                  <a:cubicBezTo>
                    <a:pt x="35" y="694"/>
                    <a:pt x="36" y="696"/>
                    <a:pt x="35" y="698"/>
                  </a:cubicBezTo>
                  <a:cubicBezTo>
                    <a:pt x="31" y="713"/>
                    <a:pt x="28" y="728"/>
                    <a:pt x="28" y="744"/>
                  </a:cubicBezTo>
                  <a:cubicBezTo>
                    <a:pt x="27" y="758"/>
                    <a:pt x="25" y="772"/>
                    <a:pt x="25" y="787"/>
                  </a:cubicBezTo>
                  <a:cubicBezTo>
                    <a:pt x="25" y="801"/>
                    <a:pt x="25" y="815"/>
                    <a:pt x="26" y="829"/>
                  </a:cubicBezTo>
                  <a:cubicBezTo>
                    <a:pt x="27" y="854"/>
                    <a:pt x="26" y="879"/>
                    <a:pt x="28" y="904"/>
                  </a:cubicBezTo>
                  <a:cubicBezTo>
                    <a:pt x="29" y="912"/>
                    <a:pt x="29" y="921"/>
                    <a:pt x="30" y="930"/>
                  </a:cubicBezTo>
                  <a:cubicBezTo>
                    <a:pt x="30" y="935"/>
                    <a:pt x="31" y="940"/>
                    <a:pt x="32" y="945"/>
                  </a:cubicBezTo>
                  <a:cubicBezTo>
                    <a:pt x="33" y="955"/>
                    <a:pt x="35" y="965"/>
                    <a:pt x="36" y="975"/>
                  </a:cubicBezTo>
                  <a:cubicBezTo>
                    <a:pt x="37" y="987"/>
                    <a:pt x="38" y="999"/>
                    <a:pt x="39" y="1011"/>
                  </a:cubicBezTo>
                  <a:cubicBezTo>
                    <a:pt x="41" y="1024"/>
                    <a:pt x="42" y="1038"/>
                    <a:pt x="43" y="1052"/>
                  </a:cubicBezTo>
                  <a:cubicBezTo>
                    <a:pt x="43" y="1064"/>
                    <a:pt x="43" y="1075"/>
                    <a:pt x="43" y="1087"/>
                  </a:cubicBezTo>
                  <a:cubicBezTo>
                    <a:pt x="42" y="1096"/>
                    <a:pt x="43" y="1104"/>
                    <a:pt x="49" y="1112"/>
                  </a:cubicBezTo>
                  <a:cubicBezTo>
                    <a:pt x="52" y="1116"/>
                    <a:pt x="55" y="1119"/>
                    <a:pt x="59" y="1120"/>
                  </a:cubicBezTo>
                  <a:cubicBezTo>
                    <a:pt x="63" y="1121"/>
                    <a:pt x="67" y="1123"/>
                    <a:pt x="70" y="1125"/>
                  </a:cubicBezTo>
                  <a:cubicBezTo>
                    <a:pt x="70" y="1131"/>
                    <a:pt x="71" y="1135"/>
                    <a:pt x="70" y="1140"/>
                  </a:cubicBezTo>
                  <a:cubicBezTo>
                    <a:pt x="69" y="1150"/>
                    <a:pt x="67" y="1160"/>
                    <a:pt x="67" y="1170"/>
                  </a:cubicBezTo>
                  <a:cubicBezTo>
                    <a:pt x="67" y="1186"/>
                    <a:pt x="68" y="1203"/>
                    <a:pt x="69" y="1219"/>
                  </a:cubicBezTo>
                  <a:cubicBezTo>
                    <a:pt x="69" y="1225"/>
                    <a:pt x="70" y="1232"/>
                    <a:pt x="71" y="1238"/>
                  </a:cubicBezTo>
                  <a:cubicBezTo>
                    <a:pt x="76" y="1264"/>
                    <a:pt x="80" y="1290"/>
                    <a:pt x="87" y="1316"/>
                  </a:cubicBezTo>
                  <a:cubicBezTo>
                    <a:pt x="94" y="1342"/>
                    <a:pt x="101" y="1368"/>
                    <a:pt x="108" y="1393"/>
                  </a:cubicBezTo>
                  <a:cubicBezTo>
                    <a:pt x="111" y="1405"/>
                    <a:pt x="116" y="1416"/>
                    <a:pt x="119" y="1427"/>
                  </a:cubicBezTo>
                  <a:cubicBezTo>
                    <a:pt x="124" y="1441"/>
                    <a:pt x="127" y="1454"/>
                    <a:pt x="126" y="1469"/>
                  </a:cubicBezTo>
                  <a:cubicBezTo>
                    <a:pt x="125" y="1474"/>
                    <a:pt x="125" y="1480"/>
                    <a:pt x="126" y="1486"/>
                  </a:cubicBezTo>
                  <a:cubicBezTo>
                    <a:pt x="127" y="1494"/>
                    <a:pt x="126" y="1502"/>
                    <a:pt x="124" y="1511"/>
                  </a:cubicBezTo>
                  <a:cubicBezTo>
                    <a:pt x="123" y="1518"/>
                    <a:pt x="122" y="1527"/>
                    <a:pt x="121" y="1535"/>
                  </a:cubicBezTo>
                  <a:cubicBezTo>
                    <a:pt x="120" y="1539"/>
                    <a:pt x="120" y="1543"/>
                    <a:pt x="119" y="1547"/>
                  </a:cubicBezTo>
                  <a:cubicBezTo>
                    <a:pt x="118" y="1559"/>
                    <a:pt x="116" y="1570"/>
                    <a:pt x="115" y="1581"/>
                  </a:cubicBezTo>
                  <a:cubicBezTo>
                    <a:pt x="114" y="1593"/>
                    <a:pt x="114" y="1605"/>
                    <a:pt x="122" y="1614"/>
                  </a:cubicBezTo>
                  <a:cubicBezTo>
                    <a:pt x="127" y="1619"/>
                    <a:pt x="132" y="1625"/>
                    <a:pt x="137" y="1629"/>
                  </a:cubicBezTo>
                  <a:cubicBezTo>
                    <a:pt x="145" y="1635"/>
                    <a:pt x="153" y="1641"/>
                    <a:pt x="163" y="1633"/>
                  </a:cubicBezTo>
                  <a:cubicBezTo>
                    <a:pt x="163" y="1633"/>
                    <a:pt x="163" y="1632"/>
                    <a:pt x="163" y="1632"/>
                  </a:cubicBezTo>
                  <a:cubicBezTo>
                    <a:pt x="172" y="1630"/>
                    <a:pt x="177" y="1624"/>
                    <a:pt x="181" y="1616"/>
                  </a:cubicBezTo>
                  <a:cubicBezTo>
                    <a:pt x="186" y="1607"/>
                    <a:pt x="188" y="1598"/>
                    <a:pt x="188" y="1588"/>
                  </a:cubicBezTo>
                  <a:cubicBezTo>
                    <a:pt x="188" y="1585"/>
                    <a:pt x="188" y="1581"/>
                    <a:pt x="188" y="1577"/>
                  </a:cubicBezTo>
                  <a:cubicBezTo>
                    <a:pt x="195" y="1582"/>
                    <a:pt x="202" y="1583"/>
                    <a:pt x="210" y="1583"/>
                  </a:cubicBezTo>
                  <a:cubicBezTo>
                    <a:pt x="211" y="1583"/>
                    <a:pt x="213" y="1583"/>
                    <a:pt x="214" y="1583"/>
                  </a:cubicBezTo>
                  <a:cubicBezTo>
                    <a:pt x="225" y="1585"/>
                    <a:pt x="237" y="1587"/>
                    <a:pt x="248" y="1588"/>
                  </a:cubicBezTo>
                  <a:cubicBezTo>
                    <a:pt x="255" y="1589"/>
                    <a:pt x="261" y="1589"/>
                    <a:pt x="268" y="1590"/>
                  </a:cubicBezTo>
                  <a:cubicBezTo>
                    <a:pt x="275" y="1590"/>
                    <a:pt x="282" y="1592"/>
                    <a:pt x="289" y="1591"/>
                  </a:cubicBezTo>
                  <a:cubicBezTo>
                    <a:pt x="293" y="1591"/>
                    <a:pt x="296" y="1589"/>
                    <a:pt x="299" y="1588"/>
                  </a:cubicBezTo>
                  <a:cubicBezTo>
                    <a:pt x="302" y="1586"/>
                    <a:pt x="305" y="1584"/>
                    <a:pt x="308" y="1582"/>
                  </a:cubicBezTo>
                  <a:cubicBezTo>
                    <a:pt x="315" y="1577"/>
                    <a:pt x="312" y="1568"/>
                    <a:pt x="304" y="1566"/>
                  </a:cubicBezTo>
                  <a:cubicBezTo>
                    <a:pt x="290" y="1563"/>
                    <a:pt x="277" y="1557"/>
                    <a:pt x="265" y="1549"/>
                  </a:cubicBezTo>
                  <a:cubicBezTo>
                    <a:pt x="258" y="1545"/>
                    <a:pt x="255" y="1539"/>
                    <a:pt x="250" y="1533"/>
                  </a:cubicBezTo>
                  <a:cubicBezTo>
                    <a:pt x="239" y="1521"/>
                    <a:pt x="236" y="1506"/>
                    <a:pt x="230" y="1491"/>
                  </a:cubicBezTo>
                  <a:cubicBezTo>
                    <a:pt x="228" y="1484"/>
                    <a:pt x="225" y="1478"/>
                    <a:pt x="222" y="1471"/>
                  </a:cubicBezTo>
                  <a:cubicBezTo>
                    <a:pt x="217" y="1456"/>
                    <a:pt x="221" y="1442"/>
                    <a:pt x="221" y="1427"/>
                  </a:cubicBezTo>
                  <a:cubicBezTo>
                    <a:pt x="222" y="1422"/>
                    <a:pt x="223" y="1417"/>
                    <a:pt x="224" y="1412"/>
                  </a:cubicBezTo>
                  <a:cubicBezTo>
                    <a:pt x="230" y="1392"/>
                    <a:pt x="237" y="1373"/>
                    <a:pt x="244" y="1354"/>
                  </a:cubicBezTo>
                  <a:cubicBezTo>
                    <a:pt x="249" y="1338"/>
                    <a:pt x="255" y="1322"/>
                    <a:pt x="261" y="1307"/>
                  </a:cubicBezTo>
                  <a:cubicBezTo>
                    <a:pt x="271" y="1282"/>
                    <a:pt x="280" y="1256"/>
                    <a:pt x="287" y="1230"/>
                  </a:cubicBezTo>
                  <a:cubicBezTo>
                    <a:pt x="290" y="1218"/>
                    <a:pt x="292" y="1205"/>
                    <a:pt x="294" y="1192"/>
                  </a:cubicBezTo>
                  <a:cubicBezTo>
                    <a:pt x="296" y="1184"/>
                    <a:pt x="296" y="1175"/>
                    <a:pt x="301" y="1167"/>
                  </a:cubicBezTo>
                  <a:cubicBezTo>
                    <a:pt x="302" y="1166"/>
                    <a:pt x="302" y="1164"/>
                    <a:pt x="302" y="1163"/>
                  </a:cubicBezTo>
                  <a:cubicBezTo>
                    <a:pt x="307" y="1151"/>
                    <a:pt x="312" y="1139"/>
                    <a:pt x="316" y="1128"/>
                  </a:cubicBezTo>
                  <a:cubicBezTo>
                    <a:pt x="321" y="1126"/>
                    <a:pt x="324" y="1124"/>
                    <a:pt x="328" y="1122"/>
                  </a:cubicBezTo>
                  <a:cubicBezTo>
                    <a:pt x="332" y="1120"/>
                    <a:pt x="334" y="1117"/>
                    <a:pt x="333" y="1112"/>
                  </a:cubicBezTo>
                  <a:cubicBezTo>
                    <a:pt x="333" y="1109"/>
                    <a:pt x="333" y="1106"/>
                    <a:pt x="334" y="1103"/>
                  </a:cubicBezTo>
                  <a:cubicBezTo>
                    <a:pt x="335" y="1094"/>
                    <a:pt x="336" y="1084"/>
                    <a:pt x="337" y="1074"/>
                  </a:cubicBezTo>
                  <a:cubicBezTo>
                    <a:pt x="337" y="1067"/>
                    <a:pt x="338" y="1060"/>
                    <a:pt x="339" y="1053"/>
                  </a:cubicBezTo>
                  <a:cubicBezTo>
                    <a:pt x="340" y="1042"/>
                    <a:pt x="342" y="1032"/>
                    <a:pt x="343" y="1022"/>
                  </a:cubicBezTo>
                  <a:cubicBezTo>
                    <a:pt x="344" y="1011"/>
                    <a:pt x="345" y="1001"/>
                    <a:pt x="347" y="990"/>
                  </a:cubicBezTo>
                  <a:cubicBezTo>
                    <a:pt x="349" y="973"/>
                    <a:pt x="351" y="956"/>
                    <a:pt x="353" y="939"/>
                  </a:cubicBezTo>
                  <a:cubicBezTo>
                    <a:pt x="354" y="926"/>
                    <a:pt x="356" y="913"/>
                    <a:pt x="356" y="899"/>
                  </a:cubicBezTo>
                  <a:cubicBezTo>
                    <a:pt x="356" y="881"/>
                    <a:pt x="358" y="863"/>
                    <a:pt x="359" y="846"/>
                  </a:cubicBezTo>
                  <a:cubicBezTo>
                    <a:pt x="360" y="824"/>
                    <a:pt x="358" y="802"/>
                    <a:pt x="358" y="781"/>
                  </a:cubicBezTo>
                  <a:cubicBezTo>
                    <a:pt x="358" y="780"/>
                    <a:pt x="358" y="780"/>
                    <a:pt x="358" y="780"/>
                  </a:cubicBezTo>
                  <a:cubicBezTo>
                    <a:pt x="357" y="766"/>
                    <a:pt x="356" y="753"/>
                    <a:pt x="355" y="739"/>
                  </a:cubicBezTo>
                  <a:cubicBezTo>
                    <a:pt x="354" y="735"/>
                    <a:pt x="355" y="729"/>
                    <a:pt x="354" y="725"/>
                  </a:cubicBezTo>
                  <a:cubicBezTo>
                    <a:pt x="353" y="719"/>
                    <a:pt x="352" y="712"/>
                    <a:pt x="351" y="706"/>
                  </a:cubicBezTo>
                  <a:cubicBezTo>
                    <a:pt x="351" y="704"/>
                    <a:pt x="350" y="701"/>
                    <a:pt x="349" y="698"/>
                  </a:cubicBezTo>
                  <a:cubicBezTo>
                    <a:pt x="348" y="693"/>
                    <a:pt x="347" y="687"/>
                    <a:pt x="352" y="684"/>
                  </a:cubicBezTo>
                  <a:cubicBezTo>
                    <a:pt x="352" y="684"/>
                    <a:pt x="356" y="682"/>
                    <a:pt x="356" y="681"/>
                  </a:cubicBezTo>
                  <a:cubicBezTo>
                    <a:pt x="356" y="679"/>
                    <a:pt x="356" y="677"/>
                    <a:pt x="356" y="676"/>
                  </a:cubicBezTo>
                  <a:cubicBezTo>
                    <a:pt x="354" y="667"/>
                    <a:pt x="353" y="657"/>
                    <a:pt x="350" y="648"/>
                  </a:cubicBezTo>
                  <a:cubicBezTo>
                    <a:pt x="345" y="635"/>
                    <a:pt x="342" y="621"/>
                    <a:pt x="341" y="606"/>
                  </a:cubicBezTo>
                  <a:cubicBezTo>
                    <a:pt x="348" y="602"/>
                    <a:pt x="356" y="602"/>
                    <a:pt x="364" y="600"/>
                  </a:cubicBezTo>
                  <a:cubicBezTo>
                    <a:pt x="365" y="599"/>
                    <a:pt x="366" y="600"/>
                    <a:pt x="367" y="600"/>
                  </a:cubicBezTo>
                  <a:cubicBezTo>
                    <a:pt x="370" y="601"/>
                    <a:pt x="373" y="601"/>
                    <a:pt x="377" y="600"/>
                  </a:cubicBezTo>
                  <a:cubicBezTo>
                    <a:pt x="384" y="599"/>
                    <a:pt x="388" y="594"/>
                    <a:pt x="394" y="591"/>
                  </a:cubicBezTo>
                  <a:cubicBezTo>
                    <a:pt x="399" y="588"/>
                    <a:pt x="402" y="583"/>
                    <a:pt x="403" y="577"/>
                  </a:cubicBezTo>
                  <a:cubicBezTo>
                    <a:pt x="405" y="571"/>
                    <a:pt x="406" y="566"/>
                    <a:pt x="406" y="561"/>
                  </a:cubicBezTo>
                  <a:cubicBezTo>
                    <a:pt x="408" y="546"/>
                    <a:pt x="412" y="531"/>
                    <a:pt x="412" y="515"/>
                  </a:cubicBezTo>
                  <a:cubicBezTo>
                    <a:pt x="412" y="510"/>
                    <a:pt x="413" y="505"/>
                    <a:pt x="415" y="500"/>
                  </a:cubicBezTo>
                  <a:cubicBezTo>
                    <a:pt x="417" y="495"/>
                    <a:pt x="417" y="490"/>
                    <a:pt x="416" y="485"/>
                  </a:cubicBezTo>
                  <a:cubicBezTo>
                    <a:pt x="414" y="478"/>
                    <a:pt x="412" y="471"/>
                    <a:pt x="410" y="464"/>
                  </a:cubicBezTo>
                  <a:close/>
                  <a:moveTo>
                    <a:pt x="205" y="1152"/>
                  </a:moveTo>
                  <a:cubicBezTo>
                    <a:pt x="202" y="1158"/>
                    <a:pt x="199" y="1165"/>
                    <a:pt x="196" y="1171"/>
                  </a:cubicBezTo>
                  <a:cubicBezTo>
                    <a:pt x="194" y="1176"/>
                    <a:pt x="191" y="1180"/>
                    <a:pt x="190" y="1185"/>
                  </a:cubicBezTo>
                  <a:cubicBezTo>
                    <a:pt x="188" y="1193"/>
                    <a:pt x="186" y="1202"/>
                    <a:pt x="183" y="1211"/>
                  </a:cubicBezTo>
                  <a:cubicBezTo>
                    <a:pt x="183" y="1212"/>
                    <a:pt x="183" y="1214"/>
                    <a:pt x="183" y="1215"/>
                  </a:cubicBezTo>
                  <a:cubicBezTo>
                    <a:pt x="184" y="1222"/>
                    <a:pt x="185" y="1229"/>
                    <a:pt x="183" y="1236"/>
                  </a:cubicBezTo>
                  <a:cubicBezTo>
                    <a:pt x="181" y="1243"/>
                    <a:pt x="183" y="1252"/>
                    <a:pt x="184" y="1260"/>
                  </a:cubicBezTo>
                  <a:cubicBezTo>
                    <a:pt x="185" y="1266"/>
                    <a:pt x="185" y="1266"/>
                    <a:pt x="180" y="1272"/>
                  </a:cubicBezTo>
                  <a:cubicBezTo>
                    <a:pt x="180" y="1276"/>
                    <a:pt x="180" y="1280"/>
                    <a:pt x="180" y="1283"/>
                  </a:cubicBezTo>
                  <a:cubicBezTo>
                    <a:pt x="180" y="1287"/>
                    <a:pt x="180" y="1290"/>
                    <a:pt x="178" y="1293"/>
                  </a:cubicBezTo>
                  <a:cubicBezTo>
                    <a:pt x="177" y="1294"/>
                    <a:pt x="177" y="1297"/>
                    <a:pt x="177" y="1299"/>
                  </a:cubicBezTo>
                  <a:cubicBezTo>
                    <a:pt x="176" y="1303"/>
                    <a:pt x="177" y="1307"/>
                    <a:pt x="176" y="1311"/>
                  </a:cubicBezTo>
                  <a:cubicBezTo>
                    <a:pt x="176" y="1313"/>
                    <a:pt x="176" y="1314"/>
                    <a:pt x="174" y="1316"/>
                  </a:cubicBezTo>
                  <a:cubicBezTo>
                    <a:pt x="174" y="1314"/>
                    <a:pt x="173" y="1312"/>
                    <a:pt x="173" y="1309"/>
                  </a:cubicBezTo>
                  <a:cubicBezTo>
                    <a:pt x="173" y="1277"/>
                    <a:pt x="173" y="1245"/>
                    <a:pt x="173" y="1212"/>
                  </a:cubicBezTo>
                  <a:cubicBezTo>
                    <a:pt x="173" y="1208"/>
                    <a:pt x="174" y="1204"/>
                    <a:pt x="171" y="1201"/>
                  </a:cubicBezTo>
                  <a:cubicBezTo>
                    <a:pt x="170" y="1200"/>
                    <a:pt x="170" y="1198"/>
                    <a:pt x="170" y="1197"/>
                  </a:cubicBezTo>
                  <a:cubicBezTo>
                    <a:pt x="170" y="1182"/>
                    <a:pt x="170" y="1168"/>
                    <a:pt x="170" y="1153"/>
                  </a:cubicBezTo>
                  <a:cubicBezTo>
                    <a:pt x="172" y="1151"/>
                    <a:pt x="175" y="1149"/>
                    <a:pt x="178" y="1146"/>
                  </a:cubicBezTo>
                  <a:cubicBezTo>
                    <a:pt x="186" y="1146"/>
                    <a:pt x="195" y="1146"/>
                    <a:pt x="204" y="1146"/>
                  </a:cubicBezTo>
                  <a:cubicBezTo>
                    <a:pt x="206" y="1148"/>
                    <a:pt x="206" y="1150"/>
                    <a:pt x="205" y="11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10">
              <a:extLst>
                <a:ext uri="{FF2B5EF4-FFF2-40B4-BE49-F238E27FC236}">
                  <a16:creationId xmlns:a16="http://schemas.microsoft.com/office/drawing/2014/main" id="{30C64509-D547-49CF-89CE-0FBE7241EA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5088" y="2212976"/>
              <a:ext cx="811212" cy="3089275"/>
            </a:xfrm>
            <a:custGeom>
              <a:avLst/>
              <a:gdLst>
                <a:gd name="T0" fmla="*/ 8 w 434"/>
                <a:gd name="T1" fmla="*/ 537 h 1655"/>
                <a:gd name="T2" fmla="*/ 16 w 434"/>
                <a:gd name="T3" fmla="*/ 605 h 1655"/>
                <a:gd name="T4" fmla="*/ 29 w 434"/>
                <a:gd name="T5" fmla="*/ 687 h 1655"/>
                <a:gd name="T6" fmla="*/ 32 w 434"/>
                <a:gd name="T7" fmla="*/ 745 h 1655"/>
                <a:gd name="T8" fmla="*/ 39 w 434"/>
                <a:gd name="T9" fmla="*/ 790 h 1655"/>
                <a:gd name="T10" fmla="*/ 47 w 434"/>
                <a:gd name="T11" fmla="*/ 864 h 1655"/>
                <a:gd name="T12" fmla="*/ 81 w 434"/>
                <a:gd name="T13" fmla="*/ 1016 h 1655"/>
                <a:gd name="T14" fmla="*/ 99 w 434"/>
                <a:gd name="T15" fmla="*/ 1114 h 1655"/>
                <a:gd name="T16" fmla="*/ 121 w 434"/>
                <a:gd name="T17" fmla="*/ 1235 h 1655"/>
                <a:gd name="T18" fmla="*/ 135 w 434"/>
                <a:gd name="T19" fmla="*/ 1327 h 1655"/>
                <a:gd name="T20" fmla="*/ 130 w 434"/>
                <a:gd name="T21" fmla="*/ 1488 h 1655"/>
                <a:gd name="T22" fmla="*/ 118 w 434"/>
                <a:gd name="T23" fmla="*/ 1520 h 1655"/>
                <a:gd name="T24" fmla="*/ 70 w 434"/>
                <a:gd name="T25" fmla="*/ 1539 h 1655"/>
                <a:gd name="T26" fmla="*/ 112 w 434"/>
                <a:gd name="T27" fmla="*/ 1566 h 1655"/>
                <a:gd name="T28" fmla="*/ 115 w 434"/>
                <a:gd name="T29" fmla="*/ 1626 h 1655"/>
                <a:gd name="T30" fmla="*/ 206 w 434"/>
                <a:gd name="T31" fmla="*/ 1615 h 1655"/>
                <a:gd name="T32" fmla="*/ 258 w 434"/>
                <a:gd name="T33" fmla="*/ 1574 h 1655"/>
                <a:gd name="T34" fmla="*/ 287 w 434"/>
                <a:gd name="T35" fmla="*/ 1516 h 1655"/>
                <a:gd name="T36" fmla="*/ 279 w 434"/>
                <a:gd name="T37" fmla="*/ 1440 h 1655"/>
                <a:gd name="T38" fmla="*/ 272 w 434"/>
                <a:gd name="T39" fmla="*/ 1368 h 1655"/>
                <a:gd name="T40" fmla="*/ 267 w 434"/>
                <a:gd name="T41" fmla="*/ 1280 h 1655"/>
                <a:gd name="T42" fmla="*/ 271 w 434"/>
                <a:gd name="T43" fmla="*/ 1228 h 1655"/>
                <a:gd name="T44" fmla="*/ 279 w 434"/>
                <a:gd name="T45" fmla="*/ 1126 h 1655"/>
                <a:gd name="T46" fmla="*/ 293 w 434"/>
                <a:gd name="T47" fmla="*/ 1014 h 1655"/>
                <a:gd name="T48" fmla="*/ 298 w 434"/>
                <a:gd name="T49" fmla="*/ 957 h 1655"/>
                <a:gd name="T50" fmla="*/ 315 w 434"/>
                <a:gd name="T51" fmla="*/ 871 h 1655"/>
                <a:gd name="T52" fmla="*/ 331 w 434"/>
                <a:gd name="T53" fmla="*/ 801 h 1655"/>
                <a:gd name="T54" fmla="*/ 360 w 434"/>
                <a:gd name="T55" fmla="*/ 802 h 1655"/>
                <a:gd name="T56" fmla="*/ 393 w 434"/>
                <a:gd name="T57" fmla="*/ 718 h 1655"/>
                <a:gd name="T58" fmla="*/ 408 w 434"/>
                <a:gd name="T59" fmla="*/ 657 h 1655"/>
                <a:gd name="T60" fmla="*/ 433 w 434"/>
                <a:gd name="T61" fmla="*/ 572 h 1655"/>
                <a:gd name="T62" fmla="*/ 418 w 434"/>
                <a:gd name="T63" fmla="*/ 507 h 1655"/>
                <a:gd name="T64" fmla="*/ 373 w 434"/>
                <a:gd name="T65" fmla="*/ 389 h 1655"/>
                <a:gd name="T66" fmla="*/ 349 w 434"/>
                <a:gd name="T67" fmla="*/ 328 h 1655"/>
                <a:gd name="T68" fmla="*/ 324 w 434"/>
                <a:gd name="T69" fmla="*/ 262 h 1655"/>
                <a:gd name="T70" fmla="*/ 242 w 434"/>
                <a:gd name="T71" fmla="*/ 236 h 1655"/>
                <a:gd name="T72" fmla="*/ 226 w 434"/>
                <a:gd name="T73" fmla="*/ 218 h 1655"/>
                <a:gd name="T74" fmla="*/ 245 w 434"/>
                <a:gd name="T75" fmla="*/ 176 h 1655"/>
                <a:gd name="T76" fmla="*/ 230 w 434"/>
                <a:gd name="T77" fmla="*/ 80 h 1655"/>
                <a:gd name="T78" fmla="*/ 167 w 434"/>
                <a:gd name="T79" fmla="*/ 1 h 1655"/>
                <a:gd name="T80" fmla="*/ 102 w 434"/>
                <a:gd name="T81" fmla="*/ 15 h 1655"/>
                <a:gd name="T82" fmla="*/ 53 w 434"/>
                <a:gd name="T83" fmla="*/ 103 h 1655"/>
                <a:gd name="T84" fmla="*/ 44 w 434"/>
                <a:gd name="T85" fmla="*/ 142 h 1655"/>
                <a:gd name="T86" fmla="*/ 46 w 434"/>
                <a:gd name="T87" fmla="*/ 179 h 1655"/>
                <a:gd name="T88" fmla="*/ 82 w 434"/>
                <a:gd name="T89" fmla="*/ 225 h 1655"/>
                <a:gd name="T90" fmla="*/ 91 w 434"/>
                <a:gd name="T91" fmla="*/ 227 h 1655"/>
                <a:gd name="T92" fmla="*/ 63 w 434"/>
                <a:gd name="T93" fmla="*/ 257 h 1655"/>
                <a:gd name="T94" fmla="*/ 18 w 434"/>
                <a:gd name="T95" fmla="*/ 290 h 1655"/>
                <a:gd name="T96" fmla="*/ 18 w 434"/>
                <a:gd name="T97" fmla="*/ 364 h 1655"/>
                <a:gd name="T98" fmla="*/ 13 w 434"/>
                <a:gd name="T99" fmla="*/ 442 h 1655"/>
                <a:gd name="T100" fmla="*/ 8 w 434"/>
                <a:gd name="T101" fmla="*/ 498 h 1655"/>
                <a:gd name="T102" fmla="*/ 298 w 434"/>
                <a:gd name="T103" fmla="*/ 538 h 1655"/>
                <a:gd name="T104" fmla="*/ 325 w 434"/>
                <a:gd name="T105" fmla="*/ 534 h 1655"/>
                <a:gd name="T106" fmla="*/ 322 w 434"/>
                <a:gd name="T107" fmla="*/ 583 h 1655"/>
                <a:gd name="T108" fmla="*/ 319 w 434"/>
                <a:gd name="T109" fmla="*/ 659 h 1655"/>
                <a:gd name="T110" fmla="*/ 307 w 434"/>
                <a:gd name="T111" fmla="*/ 620 h 1655"/>
                <a:gd name="T112" fmla="*/ 295 w 434"/>
                <a:gd name="T113" fmla="*/ 566 h 1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4" h="1655">
                  <a:moveTo>
                    <a:pt x="8" y="498"/>
                  </a:moveTo>
                  <a:cubicBezTo>
                    <a:pt x="4" y="506"/>
                    <a:pt x="0" y="513"/>
                    <a:pt x="4" y="522"/>
                  </a:cubicBezTo>
                  <a:cubicBezTo>
                    <a:pt x="6" y="527"/>
                    <a:pt x="7" y="532"/>
                    <a:pt x="8" y="537"/>
                  </a:cubicBezTo>
                  <a:cubicBezTo>
                    <a:pt x="10" y="545"/>
                    <a:pt x="11" y="554"/>
                    <a:pt x="12" y="562"/>
                  </a:cubicBezTo>
                  <a:cubicBezTo>
                    <a:pt x="14" y="574"/>
                    <a:pt x="15" y="586"/>
                    <a:pt x="16" y="598"/>
                  </a:cubicBezTo>
                  <a:cubicBezTo>
                    <a:pt x="16" y="600"/>
                    <a:pt x="16" y="603"/>
                    <a:pt x="16" y="605"/>
                  </a:cubicBezTo>
                  <a:cubicBezTo>
                    <a:pt x="15" y="614"/>
                    <a:pt x="17" y="621"/>
                    <a:pt x="20" y="629"/>
                  </a:cubicBezTo>
                  <a:cubicBezTo>
                    <a:pt x="21" y="632"/>
                    <a:pt x="22" y="635"/>
                    <a:pt x="22" y="638"/>
                  </a:cubicBezTo>
                  <a:cubicBezTo>
                    <a:pt x="21" y="654"/>
                    <a:pt x="25" y="671"/>
                    <a:pt x="29" y="687"/>
                  </a:cubicBezTo>
                  <a:cubicBezTo>
                    <a:pt x="31" y="694"/>
                    <a:pt x="29" y="701"/>
                    <a:pt x="28" y="708"/>
                  </a:cubicBezTo>
                  <a:cubicBezTo>
                    <a:pt x="27" y="715"/>
                    <a:pt x="25" y="722"/>
                    <a:pt x="24" y="729"/>
                  </a:cubicBezTo>
                  <a:cubicBezTo>
                    <a:pt x="23" y="736"/>
                    <a:pt x="26" y="742"/>
                    <a:pt x="32" y="745"/>
                  </a:cubicBezTo>
                  <a:cubicBezTo>
                    <a:pt x="34" y="746"/>
                    <a:pt x="35" y="747"/>
                    <a:pt x="37" y="748"/>
                  </a:cubicBezTo>
                  <a:cubicBezTo>
                    <a:pt x="30" y="760"/>
                    <a:pt x="28" y="773"/>
                    <a:pt x="28" y="787"/>
                  </a:cubicBezTo>
                  <a:cubicBezTo>
                    <a:pt x="31" y="791"/>
                    <a:pt x="35" y="790"/>
                    <a:pt x="39" y="790"/>
                  </a:cubicBezTo>
                  <a:cubicBezTo>
                    <a:pt x="41" y="794"/>
                    <a:pt x="42" y="798"/>
                    <a:pt x="42" y="803"/>
                  </a:cubicBezTo>
                  <a:cubicBezTo>
                    <a:pt x="42" y="816"/>
                    <a:pt x="43" y="830"/>
                    <a:pt x="44" y="843"/>
                  </a:cubicBezTo>
                  <a:cubicBezTo>
                    <a:pt x="44" y="850"/>
                    <a:pt x="46" y="857"/>
                    <a:pt x="47" y="864"/>
                  </a:cubicBezTo>
                  <a:cubicBezTo>
                    <a:pt x="48" y="874"/>
                    <a:pt x="50" y="884"/>
                    <a:pt x="51" y="893"/>
                  </a:cubicBezTo>
                  <a:cubicBezTo>
                    <a:pt x="54" y="906"/>
                    <a:pt x="56" y="918"/>
                    <a:pt x="59" y="930"/>
                  </a:cubicBezTo>
                  <a:cubicBezTo>
                    <a:pt x="66" y="959"/>
                    <a:pt x="74" y="987"/>
                    <a:pt x="81" y="1016"/>
                  </a:cubicBezTo>
                  <a:cubicBezTo>
                    <a:pt x="86" y="1033"/>
                    <a:pt x="90" y="1050"/>
                    <a:pt x="93" y="1066"/>
                  </a:cubicBezTo>
                  <a:cubicBezTo>
                    <a:pt x="95" y="1072"/>
                    <a:pt x="95" y="1077"/>
                    <a:pt x="96" y="1082"/>
                  </a:cubicBezTo>
                  <a:cubicBezTo>
                    <a:pt x="97" y="1093"/>
                    <a:pt x="98" y="1103"/>
                    <a:pt x="99" y="1114"/>
                  </a:cubicBezTo>
                  <a:cubicBezTo>
                    <a:pt x="101" y="1125"/>
                    <a:pt x="102" y="1136"/>
                    <a:pt x="104" y="1147"/>
                  </a:cubicBezTo>
                  <a:cubicBezTo>
                    <a:pt x="106" y="1159"/>
                    <a:pt x="108" y="1172"/>
                    <a:pt x="110" y="1184"/>
                  </a:cubicBezTo>
                  <a:cubicBezTo>
                    <a:pt x="113" y="1201"/>
                    <a:pt x="117" y="1218"/>
                    <a:pt x="121" y="1235"/>
                  </a:cubicBezTo>
                  <a:cubicBezTo>
                    <a:pt x="125" y="1254"/>
                    <a:pt x="130" y="1272"/>
                    <a:pt x="134" y="1290"/>
                  </a:cubicBezTo>
                  <a:cubicBezTo>
                    <a:pt x="137" y="1301"/>
                    <a:pt x="137" y="1312"/>
                    <a:pt x="135" y="1323"/>
                  </a:cubicBezTo>
                  <a:cubicBezTo>
                    <a:pt x="135" y="1324"/>
                    <a:pt x="135" y="1326"/>
                    <a:pt x="135" y="1327"/>
                  </a:cubicBezTo>
                  <a:cubicBezTo>
                    <a:pt x="134" y="1345"/>
                    <a:pt x="134" y="1363"/>
                    <a:pt x="133" y="1381"/>
                  </a:cubicBezTo>
                  <a:cubicBezTo>
                    <a:pt x="131" y="1400"/>
                    <a:pt x="133" y="1419"/>
                    <a:pt x="131" y="1438"/>
                  </a:cubicBezTo>
                  <a:cubicBezTo>
                    <a:pt x="130" y="1455"/>
                    <a:pt x="131" y="1471"/>
                    <a:pt x="130" y="1488"/>
                  </a:cubicBezTo>
                  <a:cubicBezTo>
                    <a:pt x="130" y="1491"/>
                    <a:pt x="129" y="1494"/>
                    <a:pt x="127" y="1498"/>
                  </a:cubicBezTo>
                  <a:cubicBezTo>
                    <a:pt x="126" y="1503"/>
                    <a:pt x="124" y="1507"/>
                    <a:pt x="122" y="1512"/>
                  </a:cubicBezTo>
                  <a:cubicBezTo>
                    <a:pt x="120" y="1515"/>
                    <a:pt x="119" y="1518"/>
                    <a:pt x="118" y="1520"/>
                  </a:cubicBezTo>
                  <a:cubicBezTo>
                    <a:pt x="105" y="1522"/>
                    <a:pt x="94" y="1525"/>
                    <a:pt x="83" y="1527"/>
                  </a:cubicBezTo>
                  <a:cubicBezTo>
                    <a:pt x="81" y="1528"/>
                    <a:pt x="79" y="1529"/>
                    <a:pt x="76" y="1530"/>
                  </a:cubicBezTo>
                  <a:cubicBezTo>
                    <a:pt x="72" y="1531"/>
                    <a:pt x="70" y="1534"/>
                    <a:pt x="70" y="1539"/>
                  </a:cubicBezTo>
                  <a:cubicBezTo>
                    <a:pt x="69" y="1541"/>
                    <a:pt x="69" y="1544"/>
                    <a:pt x="69" y="1546"/>
                  </a:cubicBezTo>
                  <a:cubicBezTo>
                    <a:pt x="72" y="1555"/>
                    <a:pt x="80" y="1559"/>
                    <a:pt x="89" y="1562"/>
                  </a:cubicBezTo>
                  <a:cubicBezTo>
                    <a:pt x="97" y="1564"/>
                    <a:pt x="105" y="1565"/>
                    <a:pt x="112" y="1566"/>
                  </a:cubicBezTo>
                  <a:cubicBezTo>
                    <a:pt x="120" y="1568"/>
                    <a:pt x="122" y="1570"/>
                    <a:pt x="122" y="1579"/>
                  </a:cubicBezTo>
                  <a:cubicBezTo>
                    <a:pt x="122" y="1587"/>
                    <a:pt x="120" y="1595"/>
                    <a:pt x="118" y="1603"/>
                  </a:cubicBezTo>
                  <a:cubicBezTo>
                    <a:pt x="116" y="1610"/>
                    <a:pt x="114" y="1618"/>
                    <a:pt x="115" y="1626"/>
                  </a:cubicBezTo>
                  <a:cubicBezTo>
                    <a:pt x="116" y="1641"/>
                    <a:pt x="132" y="1655"/>
                    <a:pt x="152" y="1651"/>
                  </a:cubicBezTo>
                  <a:cubicBezTo>
                    <a:pt x="166" y="1648"/>
                    <a:pt x="179" y="1642"/>
                    <a:pt x="192" y="1635"/>
                  </a:cubicBezTo>
                  <a:cubicBezTo>
                    <a:pt x="199" y="1631"/>
                    <a:pt x="205" y="1624"/>
                    <a:pt x="206" y="1615"/>
                  </a:cubicBezTo>
                  <a:cubicBezTo>
                    <a:pt x="209" y="1604"/>
                    <a:pt x="213" y="1601"/>
                    <a:pt x="226" y="1599"/>
                  </a:cubicBezTo>
                  <a:cubicBezTo>
                    <a:pt x="232" y="1598"/>
                    <a:pt x="239" y="1597"/>
                    <a:pt x="244" y="1595"/>
                  </a:cubicBezTo>
                  <a:cubicBezTo>
                    <a:pt x="253" y="1591"/>
                    <a:pt x="257" y="1584"/>
                    <a:pt x="258" y="1574"/>
                  </a:cubicBezTo>
                  <a:cubicBezTo>
                    <a:pt x="258" y="1568"/>
                    <a:pt x="259" y="1562"/>
                    <a:pt x="261" y="1556"/>
                  </a:cubicBezTo>
                  <a:cubicBezTo>
                    <a:pt x="263" y="1546"/>
                    <a:pt x="270" y="1540"/>
                    <a:pt x="278" y="1535"/>
                  </a:cubicBezTo>
                  <a:cubicBezTo>
                    <a:pt x="286" y="1530"/>
                    <a:pt x="289" y="1525"/>
                    <a:pt x="287" y="1516"/>
                  </a:cubicBezTo>
                  <a:cubicBezTo>
                    <a:pt x="286" y="1509"/>
                    <a:pt x="286" y="1502"/>
                    <a:pt x="285" y="1496"/>
                  </a:cubicBezTo>
                  <a:cubicBezTo>
                    <a:pt x="285" y="1490"/>
                    <a:pt x="284" y="1485"/>
                    <a:pt x="284" y="1480"/>
                  </a:cubicBezTo>
                  <a:cubicBezTo>
                    <a:pt x="282" y="1467"/>
                    <a:pt x="280" y="1453"/>
                    <a:pt x="279" y="1440"/>
                  </a:cubicBezTo>
                  <a:cubicBezTo>
                    <a:pt x="278" y="1432"/>
                    <a:pt x="278" y="1424"/>
                    <a:pt x="277" y="1415"/>
                  </a:cubicBezTo>
                  <a:cubicBezTo>
                    <a:pt x="276" y="1407"/>
                    <a:pt x="275" y="1398"/>
                    <a:pt x="274" y="1389"/>
                  </a:cubicBezTo>
                  <a:cubicBezTo>
                    <a:pt x="274" y="1382"/>
                    <a:pt x="273" y="1375"/>
                    <a:pt x="272" y="1368"/>
                  </a:cubicBezTo>
                  <a:cubicBezTo>
                    <a:pt x="271" y="1359"/>
                    <a:pt x="270" y="1350"/>
                    <a:pt x="269" y="1341"/>
                  </a:cubicBezTo>
                  <a:cubicBezTo>
                    <a:pt x="269" y="1336"/>
                    <a:pt x="268" y="1330"/>
                    <a:pt x="268" y="1325"/>
                  </a:cubicBezTo>
                  <a:cubicBezTo>
                    <a:pt x="267" y="1310"/>
                    <a:pt x="264" y="1295"/>
                    <a:pt x="267" y="1280"/>
                  </a:cubicBezTo>
                  <a:cubicBezTo>
                    <a:pt x="268" y="1276"/>
                    <a:pt x="267" y="1271"/>
                    <a:pt x="267" y="1267"/>
                  </a:cubicBezTo>
                  <a:cubicBezTo>
                    <a:pt x="267" y="1255"/>
                    <a:pt x="268" y="1244"/>
                    <a:pt x="270" y="1233"/>
                  </a:cubicBezTo>
                  <a:cubicBezTo>
                    <a:pt x="271" y="1231"/>
                    <a:pt x="271" y="1230"/>
                    <a:pt x="271" y="1228"/>
                  </a:cubicBezTo>
                  <a:cubicBezTo>
                    <a:pt x="270" y="1213"/>
                    <a:pt x="272" y="1199"/>
                    <a:pt x="274" y="1184"/>
                  </a:cubicBezTo>
                  <a:cubicBezTo>
                    <a:pt x="274" y="1183"/>
                    <a:pt x="274" y="1182"/>
                    <a:pt x="274" y="1181"/>
                  </a:cubicBezTo>
                  <a:cubicBezTo>
                    <a:pt x="274" y="1163"/>
                    <a:pt x="275" y="1144"/>
                    <a:pt x="279" y="1126"/>
                  </a:cubicBezTo>
                  <a:cubicBezTo>
                    <a:pt x="281" y="1111"/>
                    <a:pt x="283" y="1096"/>
                    <a:pt x="285" y="1081"/>
                  </a:cubicBezTo>
                  <a:cubicBezTo>
                    <a:pt x="286" y="1070"/>
                    <a:pt x="287" y="1059"/>
                    <a:pt x="289" y="1049"/>
                  </a:cubicBezTo>
                  <a:cubicBezTo>
                    <a:pt x="290" y="1037"/>
                    <a:pt x="292" y="1026"/>
                    <a:pt x="293" y="1014"/>
                  </a:cubicBezTo>
                  <a:cubicBezTo>
                    <a:pt x="294" y="1006"/>
                    <a:pt x="294" y="998"/>
                    <a:pt x="295" y="990"/>
                  </a:cubicBezTo>
                  <a:cubicBezTo>
                    <a:pt x="296" y="982"/>
                    <a:pt x="297" y="973"/>
                    <a:pt x="298" y="965"/>
                  </a:cubicBezTo>
                  <a:cubicBezTo>
                    <a:pt x="298" y="962"/>
                    <a:pt x="298" y="959"/>
                    <a:pt x="298" y="957"/>
                  </a:cubicBezTo>
                  <a:cubicBezTo>
                    <a:pt x="300" y="943"/>
                    <a:pt x="300" y="929"/>
                    <a:pt x="305" y="915"/>
                  </a:cubicBezTo>
                  <a:cubicBezTo>
                    <a:pt x="308" y="908"/>
                    <a:pt x="309" y="900"/>
                    <a:pt x="312" y="892"/>
                  </a:cubicBezTo>
                  <a:cubicBezTo>
                    <a:pt x="314" y="885"/>
                    <a:pt x="315" y="878"/>
                    <a:pt x="315" y="871"/>
                  </a:cubicBezTo>
                  <a:cubicBezTo>
                    <a:pt x="315" y="869"/>
                    <a:pt x="315" y="866"/>
                    <a:pt x="316" y="863"/>
                  </a:cubicBezTo>
                  <a:cubicBezTo>
                    <a:pt x="320" y="851"/>
                    <a:pt x="324" y="838"/>
                    <a:pt x="328" y="825"/>
                  </a:cubicBezTo>
                  <a:cubicBezTo>
                    <a:pt x="330" y="818"/>
                    <a:pt x="330" y="809"/>
                    <a:pt x="331" y="801"/>
                  </a:cubicBezTo>
                  <a:cubicBezTo>
                    <a:pt x="331" y="798"/>
                    <a:pt x="331" y="795"/>
                    <a:pt x="331" y="791"/>
                  </a:cubicBezTo>
                  <a:cubicBezTo>
                    <a:pt x="337" y="793"/>
                    <a:pt x="341" y="795"/>
                    <a:pt x="346" y="797"/>
                  </a:cubicBezTo>
                  <a:cubicBezTo>
                    <a:pt x="351" y="798"/>
                    <a:pt x="355" y="800"/>
                    <a:pt x="360" y="802"/>
                  </a:cubicBezTo>
                  <a:cubicBezTo>
                    <a:pt x="364" y="797"/>
                    <a:pt x="366" y="791"/>
                    <a:pt x="369" y="785"/>
                  </a:cubicBezTo>
                  <a:cubicBezTo>
                    <a:pt x="374" y="772"/>
                    <a:pt x="379" y="759"/>
                    <a:pt x="384" y="746"/>
                  </a:cubicBezTo>
                  <a:cubicBezTo>
                    <a:pt x="388" y="737"/>
                    <a:pt x="392" y="728"/>
                    <a:pt x="393" y="718"/>
                  </a:cubicBezTo>
                  <a:cubicBezTo>
                    <a:pt x="393" y="715"/>
                    <a:pt x="395" y="711"/>
                    <a:pt x="397" y="709"/>
                  </a:cubicBezTo>
                  <a:cubicBezTo>
                    <a:pt x="400" y="703"/>
                    <a:pt x="400" y="702"/>
                    <a:pt x="396" y="696"/>
                  </a:cubicBezTo>
                  <a:cubicBezTo>
                    <a:pt x="400" y="683"/>
                    <a:pt x="404" y="670"/>
                    <a:pt x="408" y="657"/>
                  </a:cubicBezTo>
                  <a:cubicBezTo>
                    <a:pt x="411" y="646"/>
                    <a:pt x="413" y="636"/>
                    <a:pt x="416" y="625"/>
                  </a:cubicBezTo>
                  <a:cubicBezTo>
                    <a:pt x="420" y="611"/>
                    <a:pt x="426" y="597"/>
                    <a:pt x="430" y="583"/>
                  </a:cubicBezTo>
                  <a:cubicBezTo>
                    <a:pt x="431" y="579"/>
                    <a:pt x="432" y="575"/>
                    <a:pt x="433" y="572"/>
                  </a:cubicBezTo>
                  <a:cubicBezTo>
                    <a:pt x="434" y="570"/>
                    <a:pt x="434" y="568"/>
                    <a:pt x="433" y="566"/>
                  </a:cubicBezTo>
                  <a:cubicBezTo>
                    <a:pt x="429" y="557"/>
                    <a:pt x="428" y="547"/>
                    <a:pt x="426" y="537"/>
                  </a:cubicBezTo>
                  <a:cubicBezTo>
                    <a:pt x="424" y="527"/>
                    <a:pt x="420" y="517"/>
                    <a:pt x="418" y="507"/>
                  </a:cubicBezTo>
                  <a:cubicBezTo>
                    <a:pt x="415" y="496"/>
                    <a:pt x="410" y="485"/>
                    <a:pt x="406" y="475"/>
                  </a:cubicBezTo>
                  <a:cubicBezTo>
                    <a:pt x="398" y="454"/>
                    <a:pt x="391" y="432"/>
                    <a:pt x="383" y="411"/>
                  </a:cubicBezTo>
                  <a:cubicBezTo>
                    <a:pt x="380" y="403"/>
                    <a:pt x="376" y="396"/>
                    <a:pt x="373" y="389"/>
                  </a:cubicBezTo>
                  <a:cubicBezTo>
                    <a:pt x="371" y="386"/>
                    <a:pt x="369" y="383"/>
                    <a:pt x="368" y="379"/>
                  </a:cubicBezTo>
                  <a:cubicBezTo>
                    <a:pt x="364" y="366"/>
                    <a:pt x="361" y="353"/>
                    <a:pt x="357" y="340"/>
                  </a:cubicBezTo>
                  <a:cubicBezTo>
                    <a:pt x="355" y="336"/>
                    <a:pt x="352" y="332"/>
                    <a:pt x="349" y="328"/>
                  </a:cubicBezTo>
                  <a:cubicBezTo>
                    <a:pt x="348" y="326"/>
                    <a:pt x="346" y="324"/>
                    <a:pt x="344" y="322"/>
                  </a:cubicBezTo>
                  <a:cubicBezTo>
                    <a:pt x="344" y="306"/>
                    <a:pt x="340" y="291"/>
                    <a:pt x="333" y="276"/>
                  </a:cubicBezTo>
                  <a:cubicBezTo>
                    <a:pt x="330" y="271"/>
                    <a:pt x="327" y="266"/>
                    <a:pt x="324" y="262"/>
                  </a:cubicBezTo>
                  <a:cubicBezTo>
                    <a:pt x="317" y="253"/>
                    <a:pt x="307" y="251"/>
                    <a:pt x="296" y="248"/>
                  </a:cubicBezTo>
                  <a:cubicBezTo>
                    <a:pt x="284" y="245"/>
                    <a:pt x="271" y="243"/>
                    <a:pt x="258" y="240"/>
                  </a:cubicBezTo>
                  <a:cubicBezTo>
                    <a:pt x="252" y="239"/>
                    <a:pt x="247" y="240"/>
                    <a:pt x="242" y="236"/>
                  </a:cubicBezTo>
                  <a:cubicBezTo>
                    <a:pt x="239" y="233"/>
                    <a:pt x="235" y="230"/>
                    <a:pt x="232" y="227"/>
                  </a:cubicBezTo>
                  <a:cubicBezTo>
                    <a:pt x="230" y="225"/>
                    <a:pt x="227" y="222"/>
                    <a:pt x="226" y="220"/>
                  </a:cubicBezTo>
                  <a:cubicBezTo>
                    <a:pt x="226" y="219"/>
                    <a:pt x="226" y="219"/>
                    <a:pt x="226" y="218"/>
                  </a:cubicBezTo>
                  <a:cubicBezTo>
                    <a:pt x="226" y="215"/>
                    <a:pt x="229" y="212"/>
                    <a:pt x="232" y="210"/>
                  </a:cubicBezTo>
                  <a:cubicBezTo>
                    <a:pt x="234" y="209"/>
                    <a:pt x="235" y="207"/>
                    <a:pt x="237" y="205"/>
                  </a:cubicBezTo>
                  <a:cubicBezTo>
                    <a:pt x="242" y="196"/>
                    <a:pt x="245" y="186"/>
                    <a:pt x="245" y="176"/>
                  </a:cubicBezTo>
                  <a:cubicBezTo>
                    <a:pt x="245" y="161"/>
                    <a:pt x="243" y="147"/>
                    <a:pt x="238" y="133"/>
                  </a:cubicBezTo>
                  <a:cubicBezTo>
                    <a:pt x="236" y="126"/>
                    <a:pt x="233" y="117"/>
                    <a:pt x="234" y="110"/>
                  </a:cubicBezTo>
                  <a:cubicBezTo>
                    <a:pt x="235" y="99"/>
                    <a:pt x="232" y="90"/>
                    <a:pt x="230" y="80"/>
                  </a:cubicBezTo>
                  <a:cubicBezTo>
                    <a:pt x="228" y="63"/>
                    <a:pt x="222" y="49"/>
                    <a:pt x="213" y="35"/>
                  </a:cubicBezTo>
                  <a:cubicBezTo>
                    <a:pt x="206" y="24"/>
                    <a:pt x="197" y="14"/>
                    <a:pt x="186" y="6"/>
                  </a:cubicBezTo>
                  <a:cubicBezTo>
                    <a:pt x="180" y="2"/>
                    <a:pt x="174" y="0"/>
                    <a:pt x="167" y="1"/>
                  </a:cubicBezTo>
                  <a:cubicBezTo>
                    <a:pt x="162" y="2"/>
                    <a:pt x="156" y="1"/>
                    <a:pt x="150" y="2"/>
                  </a:cubicBezTo>
                  <a:cubicBezTo>
                    <a:pt x="146" y="2"/>
                    <a:pt x="142" y="3"/>
                    <a:pt x="138" y="6"/>
                  </a:cubicBezTo>
                  <a:cubicBezTo>
                    <a:pt x="124" y="1"/>
                    <a:pt x="113" y="6"/>
                    <a:pt x="102" y="15"/>
                  </a:cubicBezTo>
                  <a:cubicBezTo>
                    <a:pt x="86" y="26"/>
                    <a:pt x="76" y="42"/>
                    <a:pt x="68" y="59"/>
                  </a:cubicBezTo>
                  <a:cubicBezTo>
                    <a:pt x="66" y="64"/>
                    <a:pt x="64" y="69"/>
                    <a:pt x="61" y="72"/>
                  </a:cubicBezTo>
                  <a:cubicBezTo>
                    <a:pt x="54" y="81"/>
                    <a:pt x="53" y="92"/>
                    <a:pt x="53" y="103"/>
                  </a:cubicBezTo>
                  <a:cubicBezTo>
                    <a:pt x="52" y="111"/>
                    <a:pt x="52" y="120"/>
                    <a:pt x="47" y="128"/>
                  </a:cubicBezTo>
                  <a:cubicBezTo>
                    <a:pt x="48" y="129"/>
                    <a:pt x="49" y="131"/>
                    <a:pt x="50" y="133"/>
                  </a:cubicBezTo>
                  <a:cubicBezTo>
                    <a:pt x="48" y="136"/>
                    <a:pt x="46" y="139"/>
                    <a:pt x="44" y="142"/>
                  </a:cubicBezTo>
                  <a:cubicBezTo>
                    <a:pt x="41" y="146"/>
                    <a:pt x="40" y="149"/>
                    <a:pt x="43" y="153"/>
                  </a:cubicBezTo>
                  <a:cubicBezTo>
                    <a:pt x="45" y="158"/>
                    <a:pt x="45" y="163"/>
                    <a:pt x="44" y="169"/>
                  </a:cubicBezTo>
                  <a:cubicBezTo>
                    <a:pt x="43" y="172"/>
                    <a:pt x="44" y="176"/>
                    <a:pt x="46" y="179"/>
                  </a:cubicBezTo>
                  <a:cubicBezTo>
                    <a:pt x="50" y="187"/>
                    <a:pt x="54" y="195"/>
                    <a:pt x="59" y="202"/>
                  </a:cubicBezTo>
                  <a:cubicBezTo>
                    <a:pt x="63" y="210"/>
                    <a:pt x="69" y="216"/>
                    <a:pt x="76" y="221"/>
                  </a:cubicBezTo>
                  <a:cubicBezTo>
                    <a:pt x="78" y="222"/>
                    <a:pt x="80" y="224"/>
                    <a:pt x="82" y="225"/>
                  </a:cubicBezTo>
                  <a:cubicBezTo>
                    <a:pt x="81" y="224"/>
                    <a:pt x="85" y="223"/>
                    <a:pt x="85" y="222"/>
                  </a:cubicBezTo>
                  <a:cubicBezTo>
                    <a:pt x="87" y="222"/>
                    <a:pt x="90" y="222"/>
                    <a:pt x="91" y="224"/>
                  </a:cubicBezTo>
                  <a:cubicBezTo>
                    <a:pt x="92" y="224"/>
                    <a:pt x="92" y="226"/>
                    <a:pt x="91" y="227"/>
                  </a:cubicBezTo>
                  <a:cubicBezTo>
                    <a:pt x="91" y="228"/>
                    <a:pt x="90" y="229"/>
                    <a:pt x="89" y="230"/>
                  </a:cubicBezTo>
                  <a:cubicBezTo>
                    <a:pt x="84" y="235"/>
                    <a:pt x="80" y="240"/>
                    <a:pt x="76" y="244"/>
                  </a:cubicBezTo>
                  <a:cubicBezTo>
                    <a:pt x="72" y="248"/>
                    <a:pt x="68" y="253"/>
                    <a:pt x="63" y="257"/>
                  </a:cubicBezTo>
                  <a:cubicBezTo>
                    <a:pt x="63" y="257"/>
                    <a:pt x="63" y="257"/>
                    <a:pt x="62" y="257"/>
                  </a:cubicBezTo>
                  <a:cubicBezTo>
                    <a:pt x="54" y="262"/>
                    <a:pt x="43" y="263"/>
                    <a:pt x="34" y="268"/>
                  </a:cubicBezTo>
                  <a:cubicBezTo>
                    <a:pt x="26" y="273"/>
                    <a:pt x="20" y="280"/>
                    <a:pt x="18" y="290"/>
                  </a:cubicBezTo>
                  <a:cubicBezTo>
                    <a:pt x="13" y="308"/>
                    <a:pt x="12" y="326"/>
                    <a:pt x="16" y="344"/>
                  </a:cubicBezTo>
                  <a:cubicBezTo>
                    <a:pt x="17" y="347"/>
                    <a:pt x="18" y="350"/>
                    <a:pt x="19" y="354"/>
                  </a:cubicBezTo>
                  <a:cubicBezTo>
                    <a:pt x="21" y="358"/>
                    <a:pt x="21" y="361"/>
                    <a:pt x="18" y="364"/>
                  </a:cubicBezTo>
                  <a:cubicBezTo>
                    <a:pt x="14" y="369"/>
                    <a:pt x="12" y="375"/>
                    <a:pt x="12" y="382"/>
                  </a:cubicBezTo>
                  <a:cubicBezTo>
                    <a:pt x="13" y="398"/>
                    <a:pt x="14" y="415"/>
                    <a:pt x="14" y="431"/>
                  </a:cubicBezTo>
                  <a:cubicBezTo>
                    <a:pt x="14" y="435"/>
                    <a:pt x="12" y="439"/>
                    <a:pt x="13" y="442"/>
                  </a:cubicBezTo>
                  <a:cubicBezTo>
                    <a:pt x="14" y="451"/>
                    <a:pt x="13" y="460"/>
                    <a:pt x="11" y="468"/>
                  </a:cubicBezTo>
                  <a:cubicBezTo>
                    <a:pt x="10" y="471"/>
                    <a:pt x="12" y="475"/>
                    <a:pt x="12" y="478"/>
                  </a:cubicBezTo>
                  <a:cubicBezTo>
                    <a:pt x="5" y="488"/>
                    <a:pt x="5" y="488"/>
                    <a:pt x="8" y="498"/>
                  </a:cubicBezTo>
                  <a:close/>
                  <a:moveTo>
                    <a:pt x="295" y="566"/>
                  </a:moveTo>
                  <a:cubicBezTo>
                    <a:pt x="295" y="566"/>
                    <a:pt x="295" y="565"/>
                    <a:pt x="295" y="564"/>
                  </a:cubicBezTo>
                  <a:cubicBezTo>
                    <a:pt x="296" y="555"/>
                    <a:pt x="293" y="546"/>
                    <a:pt x="298" y="538"/>
                  </a:cubicBezTo>
                  <a:cubicBezTo>
                    <a:pt x="298" y="537"/>
                    <a:pt x="298" y="537"/>
                    <a:pt x="298" y="536"/>
                  </a:cubicBezTo>
                  <a:cubicBezTo>
                    <a:pt x="298" y="528"/>
                    <a:pt x="304" y="522"/>
                    <a:pt x="308" y="514"/>
                  </a:cubicBezTo>
                  <a:cubicBezTo>
                    <a:pt x="312" y="523"/>
                    <a:pt x="319" y="528"/>
                    <a:pt x="325" y="534"/>
                  </a:cubicBezTo>
                  <a:cubicBezTo>
                    <a:pt x="328" y="537"/>
                    <a:pt x="328" y="539"/>
                    <a:pt x="326" y="543"/>
                  </a:cubicBezTo>
                  <a:cubicBezTo>
                    <a:pt x="324" y="545"/>
                    <a:pt x="322" y="548"/>
                    <a:pt x="322" y="550"/>
                  </a:cubicBezTo>
                  <a:cubicBezTo>
                    <a:pt x="322" y="561"/>
                    <a:pt x="321" y="572"/>
                    <a:pt x="322" y="583"/>
                  </a:cubicBezTo>
                  <a:cubicBezTo>
                    <a:pt x="323" y="585"/>
                    <a:pt x="324" y="589"/>
                    <a:pt x="324" y="592"/>
                  </a:cubicBezTo>
                  <a:cubicBezTo>
                    <a:pt x="324" y="607"/>
                    <a:pt x="324" y="623"/>
                    <a:pt x="324" y="638"/>
                  </a:cubicBezTo>
                  <a:cubicBezTo>
                    <a:pt x="325" y="646"/>
                    <a:pt x="321" y="652"/>
                    <a:pt x="319" y="659"/>
                  </a:cubicBezTo>
                  <a:cubicBezTo>
                    <a:pt x="319" y="652"/>
                    <a:pt x="317" y="646"/>
                    <a:pt x="313" y="640"/>
                  </a:cubicBezTo>
                  <a:cubicBezTo>
                    <a:pt x="312" y="639"/>
                    <a:pt x="311" y="638"/>
                    <a:pt x="311" y="637"/>
                  </a:cubicBezTo>
                  <a:cubicBezTo>
                    <a:pt x="313" y="630"/>
                    <a:pt x="309" y="625"/>
                    <a:pt x="307" y="620"/>
                  </a:cubicBezTo>
                  <a:cubicBezTo>
                    <a:pt x="305" y="612"/>
                    <a:pt x="301" y="604"/>
                    <a:pt x="301" y="596"/>
                  </a:cubicBezTo>
                  <a:cubicBezTo>
                    <a:pt x="301" y="595"/>
                    <a:pt x="301" y="594"/>
                    <a:pt x="300" y="593"/>
                  </a:cubicBezTo>
                  <a:cubicBezTo>
                    <a:pt x="297" y="584"/>
                    <a:pt x="294" y="576"/>
                    <a:pt x="295" y="5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88A14D8A-D37D-4EAD-A06E-20C1E3D5DB7F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/>
                <a:cs typeface="Segoe UI"/>
              </a:rPr>
              <a:t>WHO?</a:t>
            </a:r>
            <a:endParaRPr lang="en-US" sz="5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51CB5AF-5751-4530-BB8E-A79B41A71DAC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73C03365-6E3A-40D0-A881-AC9F6A2D63F8}"/>
              </a:ext>
            </a:extLst>
          </p:cNvPr>
          <p:cNvSpPr txBox="1"/>
          <p:nvPr/>
        </p:nvSpPr>
        <p:spPr>
          <a:xfrm>
            <a:off x="182479" y="322848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b="1" dirty="0">
                <a:solidFill>
                  <a:schemeClr val="bg1">
                    <a:lumMod val="50000"/>
                  </a:schemeClr>
                </a:solidFill>
                <a:latin typeface="Malgun Gothic"/>
                <a:ea typeface="Malgun Gothic"/>
              </a:rPr>
              <a:t>우리 팀을 소개합니다</a:t>
            </a:r>
            <a:endParaRPr lang="ko-KR" altLang="en-US" b="1" dirty="0" err="1">
              <a:solidFill>
                <a:schemeClr val="bg1">
                  <a:lumMod val="50000"/>
                </a:schemeClr>
              </a:solidFill>
              <a:latin typeface="Malgun Gothic"/>
              <a:ea typeface="Malgun Gothic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16EBE1C-CFFE-4C67-98F5-632C5F4DF1F6}"/>
              </a:ext>
            </a:extLst>
          </p:cNvPr>
          <p:cNvSpPr/>
          <p:nvPr/>
        </p:nvSpPr>
        <p:spPr>
          <a:xfrm>
            <a:off x="6773862" y="1438275"/>
            <a:ext cx="4384676" cy="5619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2000">
                <a:latin typeface="Malgun Gothic"/>
                <a:ea typeface="Malgun Gothic"/>
              </a:rPr>
              <a:t>팀원</a:t>
            </a:r>
            <a:endParaRPr lang="en-US" sz="2000">
              <a:latin typeface="Malgun Gothic"/>
              <a:ea typeface="Malgun Gothic"/>
            </a:endParaRPr>
          </a:p>
        </p:txBody>
      </p:sp>
    </p:spTree>
    <p:extLst>
      <p:ext uri="{BB962C8B-B14F-4D97-AF65-F5344CB8AC3E}">
        <p14:creationId xmlns:p14="http://schemas.microsoft.com/office/powerpoint/2010/main" val="42293220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8FBB724-0CB6-4898-9074-9C821F46B2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0881" y="1460501"/>
            <a:ext cx="6407260" cy="4546598"/>
          </a:xfrm>
          <a:prstGeom prst="rect">
            <a:avLst/>
          </a:prstGeom>
        </p:spPr>
      </p:pic>
      <p:pic>
        <p:nvPicPr>
          <p:cNvPr id="14" name="Picture 14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FD90B457-6D5B-4D79-BD9B-F416D3ECC2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6317" y="1599300"/>
            <a:ext cx="6202279" cy="354469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/>
                <a:cs typeface="Segoe UI"/>
              </a:rPr>
              <a:t>WHAT?</a:t>
            </a:r>
            <a:endParaRPr lang="ko-KR" altLang="en-US" sz="5400" b="1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9/4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3</a:t>
            </a:fld>
            <a:endParaRPr lang="en-US"/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E1660D60-9576-4400-BF79-6B668ECC8F07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FA3D0946-1F68-4FF1-9CD8-B8B31ECD2753}"/>
              </a:ext>
            </a:extLst>
          </p:cNvPr>
          <p:cNvSpPr/>
          <p:nvPr/>
        </p:nvSpPr>
        <p:spPr>
          <a:xfrm>
            <a:off x="9444375" y="5862638"/>
            <a:ext cx="2089149" cy="4064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37AEEB3-2672-419A-80BB-42078CB4E9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9345947" y="2017191"/>
            <a:ext cx="1981202" cy="4164534"/>
          </a:xfrm>
          <a:prstGeom prst="rect">
            <a:avLst/>
          </a:prstGeom>
        </p:spPr>
      </p:pic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4905B44F-D6EE-4B2E-B8DF-B9B4C4AE3C42}"/>
              </a:ext>
            </a:extLst>
          </p:cNvPr>
          <p:cNvSpPr/>
          <p:nvPr/>
        </p:nvSpPr>
        <p:spPr>
          <a:xfrm rot="5400000">
            <a:off x="3142591" y="2447332"/>
            <a:ext cx="1168868" cy="8420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: Top Corners Rounded 77">
            <a:extLst>
              <a:ext uri="{FF2B5EF4-FFF2-40B4-BE49-F238E27FC236}">
                <a16:creationId xmlns:a16="http://schemas.microsoft.com/office/drawing/2014/main" id="{E77035F8-48BD-4E5F-B122-FE0375E15EC8}"/>
              </a:ext>
            </a:extLst>
          </p:cNvPr>
          <p:cNvSpPr/>
          <p:nvPr/>
        </p:nvSpPr>
        <p:spPr>
          <a:xfrm rot="5400000">
            <a:off x="3142590" y="4030815"/>
            <a:ext cx="1168868" cy="8420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Freeform: Shape 71">
            <a:extLst>
              <a:ext uri="{FF2B5EF4-FFF2-40B4-BE49-F238E27FC236}">
                <a16:creationId xmlns:a16="http://schemas.microsoft.com/office/drawing/2014/main" id="{51CE30F5-39D7-4CA1-B878-1FA76E8AE354}"/>
              </a:ext>
            </a:extLst>
          </p:cNvPr>
          <p:cNvSpPr/>
          <p:nvPr/>
        </p:nvSpPr>
        <p:spPr>
          <a:xfrm>
            <a:off x="658476" y="1969726"/>
            <a:ext cx="3110651" cy="1062148"/>
          </a:xfrm>
          <a:custGeom>
            <a:avLst/>
            <a:gdLst>
              <a:gd name="connsiteX0" fmla="*/ 531074 w 3110651"/>
              <a:gd name="connsiteY0" fmla="*/ 0 h 1062148"/>
              <a:gd name="connsiteX1" fmla="*/ 3110651 w 3110651"/>
              <a:gd name="connsiteY1" fmla="*/ 0 h 1062148"/>
              <a:gd name="connsiteX2" fmla="*/ 3110651 w 3110651"/>
              <a:gd name="connsiteY2" fmla="*/ 1062148 h 1062148"/>
              <a:gd name="connsiteX3" fmla="*/ 531074 w 3110651"/>
              <a:gd name="connsiteY3" fmla="*/ 1062147 h 1062148"/>
              <a:gd name="connsiteX4" fmla="*/ 10790 w 3110651"/>
              <a:gd name="connsiteY4" fmla="*/ 638103 h 1062148"/>
              <a:gd name="connsiteX5" fmla="*/ 0 w 3110651"/>
              <a:gd name="connsiteY5" fmla="*/ 531074 h 1062148"/>
              <a:gd name="connsiteX6" fmla="*/ 10790 w 3110651"/>
              <a:gd name="connsiteY6" fmla="*/ 424044 h 1062148"/>
              <a:gd name="connsiteX7" fmla="*/ 531074 w 3110651"/>
              <a:gd name="connsiteY7" fmla="*/ 0 h 1062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10651" h="1062148">
                <a:moveTo>
                  <a:pt x="531074" y="0"/>
                </a:moveTo>
                <a:lnTo>
                  <a:pt x="3110651" y="0"/>
                </a:lnTo>
                <a:lnTo>
                  <a:pt x="3110651" y="1062148"/>
                </a:lnTo>
                <a:lnTo>
                  <a:pt x="531074" y="1062147"/>
                </a:lnTo>
                <a:cubicBezTo>
                  <a:pt x="274433" y="1062147"/>
                  <a:pt x="60310" y="880104"/>
                  <a:pt x="10790" y="638103"/>
                </a:cubicBezTo>
                <a:lnTo>
                  <a:pt x="0" y="531074"/>
                </a:lnTo>
                <a:lnTo>
                  <a:pt x="10790" y="424044"/>
                </a:lnTo>
                <a:cubicBezTo>
                  <a:pt x="60310" y="182043"/>
                  <a:pt x="274433" y="0"/>
                  <a:pt x="531074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484FF5AB-4E58-4578-A010-93CB9EAA9E32}"/>
              </a:ext>
            </a:extLst>
          </p:cNvPr>
          <p:cNvSpPr/>
          <p:nvPr/>
        </p:nvSpPr>
        <p:spPr>
          <a:xfrm>
            <a:off x="658476" y="3541842"/>
            <a:ext cx="3110651" cy="1062148"/>
          </a:xfrm>
          <a:custGeom>
            <a:avLst/>
            <a:gdLst>
              <a:gd name="connsiteX0" fmla="*/ 531074 w 3110651"/>
              <a:gd name="connsiteY0" fmla="*/ 0 h 1062148"/>
              <a:gd name="connsiteX1" fmla="*/ 3110651 w 3110651"/>
              <a:gd name="connsiteY1" fmla="*/ 0 h 1062148"/>
              <a:gd name="connsiteX2" fmla="*/ 3110651 w 3110651"/>
              <a:gd name="connsiteY2" fmla="*/ 1062148 h 1062148"/>
              <a:gd name="connsiteX3" fmla="*/ 531074 w 3110651"/>
              <a:gd name="connsiteY3" fmla="*/ 1062147 h 1062148"/>
              <a:gd name="connsiteX4" fmla="*/ 10790 w 3110651"/>
              <a:gd name="connsiteY4" fmla="*/ 638103 h 1062148"/>
              <a:gd name="connsiteX5" fmla="*/ 0 w 3110651"/>
              <a:gd name="connsiteY5" fmla="*/ 531074 h 1062148"/>
              <a:gd name="connsiteX6" fmla="*/ 10790 w 3110651"/>
              <a:gd name="connsiteY6" fmla="*/ 424044 h 1062148"/>
              <a:gd name="connsiteX7" fmla="*/ 531074 w 3110651"/>
              <a:gd name="connsiteY7" fmla="*/ 0 h 1062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10651" h="1062148">
                <a:moveTo>
                  <a:pt x="531074" y="0"/>
                </a:moveTo>
                <a:lnTo>
                  <a:pt x="3110651" y="0"/>
                </a:lnTo>
                <a:lnTo>
                  <a:pt x="3110651" y="1062148"/>
                </a:lnTo>
                <a:lnTo>
                  <a:pt x="531074" y="1062147"/>
                </a:lnTo>
                <a:cubicBezTo>
                  <a:pt x="274433" y="1062147"/>
                  <a:pt x="60310" y="880105"/>
                  <a:pt x="10790" y="638103"/>
                </a:cubicBezTo>
                <a:lnTo>
                  <a:pt x="0" y="531074"/>
                </a:lnTo>
                <a:lnTo>
                  <a:pt x="10790" y="424044"/>
                </a:lnTo>
                <a:cubicBezTo>
                  <a:pt x="60310" y="182043"/>
                  <a:pt x="274433" y="0"/>
                  <a:pt x="53107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8321AC9-191E-4B8B-B4BA-085C713D107A}"/>
              </a:ext>
            </a:extLst>
          </p:cNvPr>
          <p:cNvSpPr txBox="1"/>
          <p:nvPr/>
        </p:nvSpPr>
        <p:spPr>
          <a:xfrm>
            <a:off x="1152134" y="3826698"/>
            <a:ext cx="2460894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ko-KR" sz="1600">
                <a:solidFill>
                  <a:schemeClr val="bg1"/>
                </a:solidFill>
                <a:latin typeface="Malgun Gothic"/>
                <a:ea typeface="Malgun Gothic"/>
              </a:rPr>
              <a:t>초보 프로그래머들을 위한</a:t>
            </a:r>
            <a:endParaRPr lang="ko-KR" sz="1600">
              <a:ea typeface="+mn-lt"/>
              <a:cs typeface="+mn-lt"/>
            </a:endParaRPr>
          </a:p>
          <a:p>
            <a:pPr algn="r">
              <a:buClr>
                <a:schemeClr val="accent1"/>
              </a:buClr>
            </a:pPr>
            <a:r>
              <a:rPr lang="ko-KR" sz="1600">
                <a:solidFill>
                  <a:schemeClr val="bg1"/>
                </a:solidFill>
                <a:latin typeface="Malgun Gothic"/>
                <a:ea typeface="Malgun Gothic"/>
              </a:rPr>
              <a:t>인터넷 강의 플랫폼</a:t>
            </a:r>
            <a:endParaRPr lang="ko-KR" sz="1600">
              <a:ea typeface="+mn-lt"/>
              <a:cs typeface="+mn-lt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BCC12E76-E3D6-4420-A093-C05E074FA1D6}"/>
              </a:ext>
            </a:extLst>
          </p:cNvPr>
          <p:cNvSpPr txBox="1"/>
          <p:nvPr/>
        </p:nvSpPr>
        <p:spPr>
          <a:xfrm>
            <a:off x="1152134" y="2254581"/>
            <a:ext cx="2460894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ko-KR" altLang="en-US" sz="1600">
                <a:solidFill>
                  <a:schemeClr val="bg1"/>
                </a:solidFill>
                <a:latin typeface="Malgun Gothic"/>
                <a:ea typeface="Malgun Gothic"/>
                <a:cs typeface="+mn-lt"/>
              </a:rPr>
              <a:t>[프로그래머스]를</a:t>
            </a:r>
            <a:endParaRPr lang="ko-KR" altLang="en-US" sz="1600" dirty="0">
              <a:solidFill>
                <a:schemeClr val="bg1"/>
              </a:solidFill>
              <a:latin typeface="Malgun Gothic"/>
              <a:ea typeface="Malgun Gothic"/>
              <a:cs typeface="+mn-lt"/>
            </a:endParaRPr>
          </a:p>
          <a:p>
            <a:pPr algn="r">
              <a:buClr>
                <a:schemeClr val="accent1"/>
              </a:buClr>
            </a:pPr>
            <a:r>
              <a:rPr lang="ko-KR" altLang="en-US" sz="1600">
                <a:solidFill>
                  <a:schemeClr val="bg1"/>
                </a:solidFill>
                <a:latin typeface="Malgun Gothic"/>
                <a:ea typeface="Malgun Gothic"/>
                <a:cs typeface="+mn-lt"/>
              </a:rPr>
              <a:t>벤치마킹한</a:t>
            </a:r>
            <a:endParaRPr lang="ko-KR" altLang="en-US" sz="1600" dirty="0">
              <a:solidFill>
                <a:schemeClr val="bg1"/>
              </a:solidFill>
              <a:latin typeface="Malgun Gothic"/>
              <a:ea typeface="Malgun Gothic"/>
              <a:cs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CFE7DFF-72CC-4DCF-AC5E-AFFD0D4961F8}"/>
              </a:ext>
            </a:extLst>
          </p:cNvPr>
          <p:cNvSpPr txBox="1"/>
          <p:nvPr/>
        </p:nvSpPr>
        <p:spPr>
          <a:xfrm>
            <a:off x="182479" y="322848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b="1">
                <a:solidFill>
                  <a:schemeClr val="bg1">
                    <a:lumMod val="50000"/>
                  </a:schemeClr>
                </a:solidFill>
                <a:latin typeface="Malgun Gothic"/>
                <a:ea typeface="Malgun Gothic"/>
              </a:rPr>
              <a:t>WWW는?</a:t>
            </a:r>
            <a:endParaRPr lang="ko-KR" altLang="en-US" b="1" dirty="0" err="1">
              <a:solidFill>
                <a:schemeClr val="bg1">
                  <a:lumMod val="50000"/>
                </a:schemeClr>
              </a:solidFill>
              <a:latin typeface="Malgun Gothic"/>
              <a:ea typeface="Malgun Gothic"/>
            </a:endParaRPr>
          </a:p>
        </p:txBody>
      </p:sp>
    </p:spTree>
    <p:extLst>
      <p:ext uri="{BB962C8B-B14F-4D97-AF65-F5344CB8AC3E}">
        <p14:creationId xmlns:p14="http://schemas.microsoft.com/office/powerpoint/2010/main" val="23569498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/>
                <a:cs typeface="Segoe UI"/>
              </a:rPr>
              <a:t>WHY?</a:t>
            </a:r>
            <a:endParaRPr lang="en-US" sz="540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9/4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4</a:t>
            </a:fld>
            <a:endParaRPr lang="en-US"/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E1660D60-9576-4400-BF79-6B668ECC8F07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oup 77">
            <a:extLst>
              <a:ext uri="{FF2B5EF4-FFF2-40B4-BE49-F238E27FC236}">
                <a16:creationId xmlns:a16="http://schemas.microsoft.com/office/drawing/2014/main" id="{0C6D6050-1AB9-4684-AA5E-28AA0DA6CD65}"/>
              </a:ext>
            </a:extLst>
          </p:cNvPr>
          <p:cNvGrpSpPr/>
          <p:nvPr/>
        </p:nvGrpSpPr>
        <p:grpSpPr>
          <a:xfrm>
            <a:off x="546497" y="1222941"/>
            <a:ext cx="5162550" cy="1509712"/>
            <a:chOff x="547688" y="1235641"/>
            <a:chExt cx="5162550" cy="1509712"/>
          </a:xfrm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8F2285A7-71FB-4309-9545-BCAD6A35A2FC}"/>
                </a:ext>
              </a:extLst>
            </p:cNvPr>
            <p:cNvGrpSpPr/>
            <p:nvPr/>
          </p:nvGrpSpPr>
          <p:grpSpPr>
            <a:xfrm>
              <a:off x="547688" y="1235641"/>
              <a:ext cx="5162550" cy="1509712"/>
              <a:chOff x="547688" y="1411288"/>
              <a:chExt cx="5162550" cy="1509712"/>
            </a:xfrm>
          </p:grpSpPr>
          <p:sp>
            <p:nvSpPr>
              <p:cNvPr id="25" name="Freeform 5">
                <a:extLst>
                  <a:ext uri="{FF2B5EF4-FFF2-40B4-BE49-F238E27FC236}">
                    <a16:creationId xmlns:a16="http://schemas.microsoft.com/office/drawing/2014/main" id="{0083C0A7-3668-45A0-90D5-9845482B1C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750" y="1411288"/>
                <a:ext cx="369887" cy="452437"/>
              </a:xfrm>
              <a:custGeom>
                <a:avLst/>
                <a:gdLst>
                  <a:gd name="T0" fmla="*/ 96 w 96"/>
                  <a:gd name="T1" fmla="*/ 0 h 117"/>
                  <a:gd name="T2" fmla="*/ 32 w 96"/>
                  <a:gd name="T3" fmla="*/ 0 h 117"/>
                  <a:gd name="T4" fmla="*/ 0 w 96"/>
                  <a:gd name="T5" fmla="*/ 31 h 117"/>
                  <a:gd name="T6" fmla="*/ 0 w 96"/>
                  <a:gd name="T7" fmla="*/ 117 h 117"/>
                  <a:gd name="T8" fmla="*/ 96 w 96"/>
                  <a:gd name="T9" fmla="*/ 117 h 117"/>
                  <a:gd name="T10" fmla="*/ 96 w 96"/>
                  <a:gd name="T11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6" h="117">
                    <a:moveTo>
                      <a:pt x="96" y="0"/>
                    </a:moveTo>
                    <a:cubicBezTo>
                      <a:pt x="32" y="0"/>
                      <a:pt x="32" y="0"/>
                      <a:pt x="32" y="0"/>
                    </a:cubicBezTo>
                    <a:cubicBezTo>
                      <a:pt x="14" y="0"/>
                      <a:pt x="0" y="14"/>
                      <a:pt x="0" y="31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96" y="117"/>
                      <a:pt x="96" y="117"/>
                      <a:pt x="96" y="117"/>
                    </a:cubicBezTo>
                    <a:lnTo>
                      <a:pt x="96" y="0"/>
                    </a:ln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D8DF13E1-0D9A-49B9-A169-1FAB4EC076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5363" y="1639888"/>
                <a:ext cx="4484687" cy="1103312"/>
              </a:xfrm>
              <a:custGeom>
                <a:avLst/>
                <a:gdLst>
                  <a:gd name="T0" fmla="*/ 1150 w 1163"/>
                  <a:gd name="T1" fmla="*/ 169 h 285"/>
                  <a:gd name="T2" fmla="*/ 1089 w 1163"/>
                  <a:gd name="T3" fmla="*/ 249 h 285"/>
                  <a:gd name="T4" fmla="*/ 1016 w 1163"/>
                  <a:gd name="T5" fmla="*/ 285 h 285"/>
                  <a:gd name="T6" fmla="*/ 129 w 1163"/>
                  <a:gd name="T7" fmla="*/ 285 h 285"/>
                  <a:gd name="T8" fmla="*/ 0 w 1163"/>
                  <a:gd name="T9" fmla="*/ 156 h 285"/>
                  <a:gd name="T10" fmla="*/ 0 w 1163"/>
                  <a:gd name="T11" fmla="*/ 0 h 285"/>
                  <a:gd name="T12" fmla="*/ 1017 w 1163"/>
                  <a:gd name="T13" fmla="*/ 0 h 285"/>
                  <a:gd name="T14" fmla="*/ 1089 w 1163"/>
                  <a:gd name="T15" fmla="*/ 35 h 285"/>
                  <a:gd name="T16" fmla="*/ 1149 w 1163"/>
                  <a:gd name="T17" fmla="*/ 112 h 285"/>
                  <a:gd name="T18" fmla="*/ 1150 w 1163"/>
                  <a:gd name="T19" fmla="*/ 169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63" h="285">
                    <a:moveTo>
                      <a:pt x="1150" y="169"/>
                    </a:moveTo>
                    <a:cubicBezTo>
                      <a:pt x="1089" y="249"/>
                      <a:pt x="1089" y="249"/>
                      <a:pt x="1089" y="249"/>
                    </a:cubicBezTo>
                    <a:cubicBezTo>
                      <a:pt x="1072" y="271"/>
                      <a:pt x="1045" y="285"/>
                      <a:pt x="1016" y="285"/>
                    </a:cubicBezTo>
                    <a:cubicBezTo>
                      <a:pt x="129" y="285"/>
                      <a:pt x="129" y="285"/>
                      <a:pt x="129" y="285"/>
                    </a:cubicBezTo>
                    <a:cubicBezTo>
                      <a:pt x="58" y="285"/>
                      <a:pt x="0" y="227"/>
                      <a:pt x="0" y="15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017" y="0"/>
                      <a:pt x="1017" y="0"/>
                      <a:pt x="1017" y="0"/>
                    </a:cubicBezTo>
                    <a:cubicBezTo>
                      <a:pt x="1045" y="0"/>
                      <a:pt x="1072" y="12"/>
                      <a:pt x="1089" y="35"/>
                    </a:cubicBezTo>
                    <a:cubicBezTo>
                      <a:pt x="1149" y="112"/>
                      <a:pt x="1149" y="112"/>
                      <a:pt x="1149" y="112"/>
                    </a:cubicBezTo>
                    <a:cubicBezTo>
                      <a:pt x="1163" y="129"/>
                      <a:pt x="1163" y="152"/>
                      <a:pt x="1150" y="16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5D519EEA-6BD8-467F-9BF6-13C1806A9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688" y="1411288"/>
                <a:ext cx="1712912" cy="1331912"/>
              </a:xfrm>
              <a:custGeom>
                <a:avLst/>
                <a:gdLst>
                  <a:gd name="T0" fmla="*/ 315 w 444"/>
                  <a:gd name="T1" fmla="*/ 215 h 344"/>
                  <a:gd name="T2" fmla="*/ 315 w 444"/>
                  <a:gd name="T3" fmla="*/ 59 h 344"/>
                  <a:gd name="T4" fmla="*/ 255 w 444"/>
                  <a:gd name="T5" fmla="*/ 0 h 344"/>
                  <a:gd name="T6" fmla="*/ 59 w 444"/>
                  <a:gd name="T7" fmla="*/ 0 h 344"/>
                  <a:gd name="T8" fmla="*/ 0 w 444"/>
                  <a:gd name="T9" fmla="*/ 59 h 344"/>
                  <a:gd name="T10" fmla="*/ 0 w 444"/>
                  <a:gd name="T11" fmla="*/ 215 h 344"/>
                  <a:gd name="T12" fmla="*/ 129 w 444"/>
                  <a:gd name="T13" fmla="*/ 344 h 344"/>
                  <a:gd name="T14" fmla="*/ 444 w 444"/>
                  <a:gd name="T15" fmla="*/ 344 h 344"/>
                  <a:gd name="T16" fmla="*/ 315 w 444"/>
                  <a:gd name="T17" fmla="*/ 215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4" h="344">
                    <a:moveTo>
                      <a:pt x="315" y="215"/>
                    </a:moveTo>
                    <a:cubicBezTo>
                      <a:pt x="315" y="59"/>
                      <a:pt x="315" y="59"/>
                      <a:pt x="315" y="59"/>
                    </a:cubicBezTo>
                    <a:cubicBezTo>
                      <a:pt x="315" y="26"/>
                      <a:pt x="288" y="0"/>
                      <a:pt x="255" y="0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26" y="0"/>
                      <a:pt x="0" y="26"/>
                      <a:pt x="0" y="59"/>
                    </a:cubicBezTo>
                    <a:cubicBezTo>
                      <a:pt x="0" y="215"/>
                      <a:pt x="0" y="215"/>
                      <a:pt x="0" y="215"/>
                    </a:cubicBezTo>
                    <a:cubicBezTo>
                      <a:pt x="0" y="286"/>
                      <a:pt x="57" y="344"/>
                      <a:pt x="129" y="344"/>
                    </a:cubicBezTo>
                    <a:cubicBezTo>
                      <a:pt x="444" y="344"/>
                      <a:pt x="444" y="344"/>
                      <a:pt x="444" y="344"/>
                    </a:cubicBezTo>
                    <a:cubicBezTo>
                      <a:pt x="372" y="344"/>
                      <a:pt x="315" y="286"/>
                      <a:pt x="315" y="215"/>
                    </a:cubicBezTo>
                    <a:close/>
                  </a:path>
                </a:pathLst>
              </a:custGeom>
              <a:solidFill>
                <a:srgbClr val="FF6B6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8">
                <a:extLst>
                  <a:ext uri="{FF2B5EF4-FFF2-40B4-BE49-F238E27FC236}">
                    <a16:creationId xmlns:a16="http://schemas.microsoft.com/office/drawing/2014/main" id="{7477084D-D0BD-4CD8-8DAC-EB99F7A40C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2125" y="1639888"/>
                <a:ext cx="601662" cy="1103312"/>
              </a:xfrm>
              <a:custGeom>
                <a:avLst/>
                <a:gdLst>
                  <a:gd name="T0" fmla="*/ 156 w 156"/>
                  <a:gd name="T1" fmla="*/ 285 h 285"/>
                  <a:gd name="T2" fmla="*/ 129 w 156"/>
                  <a:gd name="T3" fmla="*/ 285 h 285"/>
                  <a:gd name="T4" fmla="*/ 0 w 156"/>
                  <a:gd name="T5" fmla="*/ 156 h 285"/>
                  <a:gd name="T6" fmla="*/ 0 w 156"/>
                  <a:gd name="T7" fmla="*/ 0 h 285"/>
                  <a:gd name="T8" fmla="*/ 27 w 156"/>
                  <a:gd name="T9" fmla="*/ 0 h 285"/>
                  <a:gd name="T10" fmla="*/ 27 w 156"/>
                  <a:gd name="T11" fmla="*/ 156 h 285"/>
                  <a:gd name="T12" fmla="*/ 156 w 156"/>
                  <a:gd name="T13" fmla="*/ 28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6" h="285">
                    <a:moveTo>
                      <a:pt x="156" y="285"/>
                    </a:moveTo>
                    <a:cubicBezTo>
                      <a:pt x="129" y="285"/>
                      <a:pt x="129" y="285"/>
                      <a:pt x="129" y="285"/>
                    </a:cubicBezTo>
                    <a:cubicBezTo>
                      <a:pt x="57" y="285"/>
                      <a:pt x="0" y="227"/>
                      <a:pt x="0" y="15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156"/>
                      <a:pt x="27" y="156"/>
                      <a:pt x="27" y="156"/>
                    </a:cubicBezTo>
                    <a:cubicBezTo>
                      <a:pt x="27" y="227"/>
                      <a:pt x="85" y="285"/>
                      <a:pt x="156" y="28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9">
                <a:extLst>
                  <a:ext uri="{FF2B5EF4-FFF2-40B4-BE49-F238E27FC236}">
                    <a16:creationId xmlns:a16="http://schemas.microsoft.com/office/drawing/2014/main" id="{88434733-1FD0-4813-9FB7-5936F265C1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5975" y="1411288"/>
                <a:ext cx="2900362" cy="503237"/>
              </a:xfrm>
              <a:custGeom>
                <a:avLst/>
                <a:gdLst>
                  <a:gd name="T0" fmla="*/ 52 w 752"/>
                  <a:gd name="T1" fmla="*/ 130 h 130"/>
                  <a:gd name="T2" fmla="*/ 709 w 752"/>
                  <a:gd name="T3" fmla="*/ 130 h 130"/>
                  <a:gd name="T4" fmla="*/ 752 w 752"/>
                  <a:gd name="T5" fmla="*/ 87 h 130"/>
                  <a:gd name="T6" fmla="*/ 752 w 752"/>
                  <a:gd name="T7" fmla="*/ 59 h 130"/>
                  <a:gd name="T8" fmla="*/ 692 w 752"/>
                  <a:gd name="T9" fmla="*/ 0 h 130"/>
                  <a:gd name="T10" fmla="*/ 0 w 752"/>
                  <a:gd name="T11" fmla="*/ 0 h 130"/>
                  <a:gd name="T12" fmla="*/ 20 w 752"/>
                  <a:gd name="T13" fmla="*/ 59 h 130"/>
                  <a:gd name="T14" fmla="*/ 20 w 752"/>
                  <a:gd name="T15" fmla="*/ 98 h 130"/>
                  <a:gd name="T16" fmla="*/ 52 w 752"/>
                  <a:gd name="T17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52" h="130">
                    <a:moveTo>
                      <a:pt x="52" y="130"/>
                    </a:moveTo>
                    <a:cubicBezTo>
                      <a:pt x="709" y="130"/>
                      <a:pt x="709" y="130"/>
                      <a:pt x="709" y="130"/>
                    </a:cubicBezTo>
                    <a:cubicBezTo>
                      <a:pt x="733" y="130"/>
                      <a:pt x="752" y="111"/>
                      <a:pt x="752" y="87"/>
                    </a:cubicBezTo>
                    <a:cubicBezTo>
                      <a:pt x="752" y="59"/>
                      <a:pt x="752" y="59"/>
                      <a:pt x="752" y="59"/>
                    </a:cubicBezTo>
                    <a:cubicBezTo>
                      <a:pt x="752" y="26"/>
                      <a:pt x="725" y="0"/>
                      <a:pt x="69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" y="16"/>
                      <a:pt x="20" y="37"/>
                      <a:pt x="20" y="59"/>
                    </a:cubicBezTo>
                    <a:cubicBezTo>
                      <a:pt x="20" y="98"/>
                      <a:pt x="20" y="98"/>
                      <a:pt x="20" y="98"/>
                    </a:cubicBezTo>
                    <a:cubicBezTo>
                      <a:pt x="20" y="116"/>
                      <a:pt x="34" y="130"/>
                      <a:pt x="52" y="130"/>
                    </a:cubicBezTo>
                    <a:close/>
                  </a:path>
                </a:pathLst>
              </a:custGeom>
              <a:solidFill>
                <a:srgbClr val="FF6B6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Oval 10">
                <a:extLst>
                  <a:ext uri="{FF2B5EF4-FFF2-40B4-BE49-F238E27FC236}">
                    <a16:creationId xmlns:a16="http://schemas.microsoft.com/office/drawing/2014/main" id="{9B33B3B6-C046-4697-A495-5ADD101E93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4563" y="1960563"/>
                <a:ext cx="955675" cy="960437"/>
              </a:xfrm>
              <a:prstGeom prst="ellipse">
                <a:avLst/>
              </a:prstGeom>
              <a:solidFill>
                <a:srgbClr val="E46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11">
                <a:extLst>
                  <a:ext uri="{FF2B5EF4-FFF2-40B4-BE49-F238E27FC236}">
                    <a16:creationId xmlns:a16="http://schemas.microsoft.com/office/drawing/2014/main" id="{A27688A8-4B9B-4AD9-9AD8-7FED2A637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2338" y="1898650"/>
                <a:ext cx="747712" cy="844550"/>
              </a:xfrm>
              <a:custGeom>
                <a:avLst/>
                <a:gdLst>
                  <a:gd name="T0" fmla="*/ 0 w 194"/>
                  <a:gd name="T1" fmla="*/ 123 h 218"/>
                  <a:gd name="T2" fmla="*/ 43 w 194"/>
                  <a:gd name="T3" fmla="*/ 218 h 218"/>
                  <a:gd name="T4" fmla="*/ 47 w 194"/>
                  <a:gd name="T5" fmla="*/ 218 h 218"/>
                  <a:gd name="T6" fmla="*/ 120 w 194"/>
                  <a:gd name="T7" fmla="*/ 182 h 218"/>
                  <a:gd name="T8" fmla="*/ 181 w 194"/>
                  <a:gd name="T9" fmla="*/ 102 h 218"/>
                  <a:gd name="T10" fmla="*/ 180 w 194"/>
                  <a:gd name="T11" fmla="*/ 45 h 218"/>
                  <a:gd name="T12" fmla="*/ 147 w 194"/>
                  <a:gd name="T13" fmla="*/ 2 h 218"/>
                  <a:gd name="T14" fmla="*/ 124 w 194"/>
                  <a:gd name="T15" fmla="*/ 0 h 218"/>
                  <a:gd name="T16" fmla="*/ 0 w 194"/>
                  <a:gd name="T17" fmla="*/ 123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4" h="218">
                    <a:moveTo>
                      <a:pt x="0" y="123"/>
                    </a:moveTo>
                    <a:cubicBezTo>
                      <a:pt x="0" y="161"/>
                      <a:pt x="17" y="195"/>
                      <a:pt x="43" y="218"/>
                    </a:cubicBezTo>
                    <a:cubicBezTo>
                      <a:pt x="47" y="218"/>
                      <a:pt x="47" y="218"/>
                      <a:pt x="47" y="218"/>
                    </a:cubicBezTo>
                    <a:cubicBezTo>
                      <a:pt x="76" y="218"/>
                      <a:pt x="103" y="204"/>
                      <a:pt x="120" y="182"/>
                    </a:cubicBezTo>
                    <a:cubicBezTo>
                      <a:pt x="181" y="102"/>
                      <a:pt x="181" y="102"/>
                      <a:pt x="181" y="102"/>
                    </a:cubicBezTo>
                    <a:cubicBezTo>
                      <a:pt x="194" y="85"/>
                      <a:pt x="194" y="62"/>
                      <a:pt x="180" y="45"/>
                    </a:cubicBezTo>
                    <a:cubicBezTo>
                      <a:pt x="147" y="2"/>
                      <a:pt x="147" y="2"/>
                      <a:pt x="147" y="2"/>
                    </a:cubicBezTo>
                    <a:cubicBezTo>
                      <a:pt x="139" y="0"/>
                      <a:pt x="131" y="0"/>
                      <a:pt x="124" y="0"/>
                    </a:cubicBezTo>
                    <a:cubicBezTo>
                      <a:pt x="55" y="0"/>
                      <a:pt x="0" y="55"/>
                      <a:pt x="0" y="12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Oval 12">
                <a:extLst>
                  <a:ext uri="{FF2B5EF4-FFF2-40B4-BE49-F238E27FC236}">
                    <a16:creationId xmlns:a16="http://schemas.microsoft.com/office/drawing/2014/main" id="{999104B3-D6B8-4E84-9DDE-1529498ED2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4563" y="1960563"/>
                <a:ext cx="955675" cy="960437"/>
              </a:xfrm>
              <a:prstGeom prst="ellipse">
                <a:avLst/>
              </a:prstGeom>
              <a:solidFill>
                <a:srgbClr val="FF6B6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13">
                <a:extLst>
                  <a:ext uri="{FF2B5EF4-FFF2-40B4-BE49-F238E27FC236}">
                    <a16:creationId xmlns:a16="http://schemas.microsoft.com/office/drawing/2014/main" id="{21D6E056-29EA-4491-8396-1E1867C2D4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40288" y="2041525"/>
                <a:ext cx="785812" cy="793750"/>
              </a:xfrm>
              <a:custGeom>
                <a:avLst/>
                <a:gdLst>
                  <a:gd name="T0" fmla="*/ 102 w 204"/>
                  <a:gd name="T1" fmla="*/ 0 h 205"/>
                  <a:gd name="T2" fmla="*/ 0 w 204"/>
                  <a:gd name="T3" fmla="*/ 103 h 205"/>
                  <a:gd name="T4" fmla="*/ 102 w 204"/>
                  <a:gd name="T5" fmla="*/ 205 h 205"/>
                  <a:gd name="T6" fmla="*/ 204 w 204"/>
                  <a:gd name="T7" fmla="*/ 103 h 205"/>
                  <a:gd name="T8" fmla="*/ 102 w 204"/>
                  <a:gd name="T9" fmla="*/ 0 h 205"/>
                  <a:gd name="T10" fmla="*/ 102 w 204"/>
                  <a:gd name="T11" fmla="*/ 192 h 205"/>
                  <a:gd name="T12" fmla="*/ 13 w 204"/>
                  <a:gd name="T13" fmla="*/ 103 h 205"/>
                  <a:gd name="T14" fmla="*/ 102 w 204"/>
                  <a:gd name="T15" fmla="*/ 14 h 205"/>
                  <a:gd name="T16" fmla="*/ 191 w 204"/>
                  <a:gd name="T17" fmla="*/ 103 h 205"/>
                  <a:gd name="T18" fmla="*/ 102 w 204"/>
                  <a:gd name="T19" fmla="*/ 192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4" h="205">
                    <a:moveTo>
                      <a:pt x="102" y="0"/>
                    </a:moveTo>
                    <a:cubicBezTo>
                      <a:pt x="45" y="0"/>
                      <a:pt x="0" y="46"/>
                      <a:pt x="0" y="103"/>
                    </a:cubicBezTo>
                    <a:cubicBezTo>
                      <a:pt x="0" y="159"/>
                      <a:pt x="45" y="205"/>
                      <a:pt x="102" y="205"/>
                    </a:cubicBezTo>
                    <a:cubicBezTo>
                      <a:pt x="159" y="205"/>
                      <a:pt x="204" y="159"/>
                      <a:pt x="204" y="103"/>
                    </a:cubicBezTo>
                    <a:cubicBezTo>
                      <a:pt x="204" y="46"/>
                      <a:pt x="159" y="0"/>
                      <a:pt x="102" y="0"/>
                    </a:cubicBezTo>
                    <a:close/>
                    <a:moveTo>
                      <a:pt x="102" y="192"/>
                    </a:moveTo>
                    <a:cubicBezTo>
                      <a:pt x="53" y="192"/>
                      <a:pt x="13" y="152"/>
                      <a:pt x="13" y="103"/>
                    </a:cubicBezTo>
                    <a:cubicBezTo>
                      <a:pt x="13" y="54"/>
                      <a:pt x="53" y="14"/>
                      <a:pt x="102" y="14"/>
                    </a:cubicBezTo>
                    <a:cubicBezTo>
                      <a:pt x="151" y="14"/>
                      <a:pt x="191" y="54"/>
                      <a:pt x="191" y="103"/>
                    </a:cubicBezTo>
                    <a:cubicBezTo>
                      <a:pt x="191" y="152"/>
                      <a:pt x="151" y="192"/>
                      <a:pt x="102" y="19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7EF39B13-94D1-4E0A-A9EE-17F677E9A320}"/>
                </a:ext>
              </a:extLst>
            </p:cNvPr>
            <p:cNvSpPr txBox="1"/>
            <p:nvPr/>
          </p:nvSpPr>
          <p:spPr>
            <a:xfrm>
              <a:off x="2013862" y="1884338"/>
              <a:ext cx="2572426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rem ipsum dolor sit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et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sectetur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ipiscing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lit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3E19AE15-618E-4B5B-AE42-6BE19F06966C}"/>
                </a:ext>
              </a:extLst>
            </p:cNvPr>
            <p:cNvSpPr txBox="1"/>
            <p:nvPr/>
          </p:nvSpPr>
          <p:spPr>
            <a:xfrm>
              <a:off x="2380463" y="1337982"/>
              <a:ext cx="2401874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>
                  <a:solidFill>
                    <a:schemeClr val="bg1"/>
                  </a:solidFill>
                </a:rPr>
                <a:t>LOREM IPSUM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7FADAE94-9BDC-4D54-B957-C86031DF35EB}"/>
                </a:ext>
              </a:extLst>
            </p:cNvPr>
            <p:cNvSpPr txBox="1"/>
            <p:nvPr/>
          </p:nvSpPr>
          <p:spPr>
            <a:xfrm>
              <a:off x="756518" y="1492173"/>
              <a:ext cx="824616" cy="73866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4800">
                  <a:solidFill>
                    <a:schemeClr val="bg1"/>
                  </a:solidFill>
                </a:rPr>
                <a:t>01</a:t>
              </a:r>
            </a:p>
          </p:txBody>
        </p:sp>
        <p:sp>
          <p:nvSpPr>
            <p:cNvPr id="118" name="Freeform 122">
              <a:extLst>
                <a:ext uri="{FF2B5EF4-FFF2-40B4-BE49-F238E27FC236}">
                  <a16:creationId xmlns:a16="http://schemas.microsoft.com/office/drawing/2014/main" id="{064246BB-FD4C-47D1-8BD9-681FED58B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2774" y="2130990"/>
              <a:ext cx="287338" cy="263525"/>
            </a:xfrm>
            <a:custGeom>
              <a:avLst/>
              <a:gdLst>
                <a:gd name="T0" fmla="*/ 376 w 907"/>
                <a:gd name="T1" fmla="*/ 508 h 827"/>
                <a:gd name="T2" fmla="*/ 866 w 907"/>
                <a:gd name="T3" fmla="*/ 58 h 827"/>
                <a:gd name="T4" fmla="*/ 366 w 907"/>
                <a:gd name="T5" fmla="*/ 758 h 827"/>
                <a:gd name="T6" fmla="*/ 466 w 907"/>
                <a:gd name="T7" fmla="*/ 590 h 827"/>
                <a:gd name="T8" fmla="*/ 819 w 907"/>
                <a:gd name="T9" fmla="*/ 61 h 827"/>
                <a:gd name="T10" fmla="*/ 55 w 907"/>
                <a:gd name="T11" fmla="*/ 375 h 827"/>
                <a:gd name="T12" fmla="*/ 907 w 907"/>
                <a:gd name="T13" fmla="*/ 15 h 827"/>
                <a:gd name="T14" fmla="*/ 906 w 907"/>
                <a:gd name="T15" fmla="*/ 12 h 827"/>
                <a:gd name="T16" fmla="*/ 906 w 907"/>
                <a:gd name="T17" fmla="*/ 11 h 827"/>
                <a:gd name="T18" fmla="*/ 905 w 907"/>
                <a:gd name="T19" fmla="*/ 8 h 827"/>
                <a:gd name="T20" fmla="*/ 905 w 907"/>
                <a:gd name="T21" fmla="*/ 6 h 827"/>
                <a:gd name="T22" fmla="*/ 904 w 907"/>
                <a:gd name="T23" fmla="*/ 5 h 827"/>
                <a:gd name="T24" fmla="*/ 902 w 907"/>
                <a:gd name="T25" fmla="*/ 3 h 827"/>
                <a:gd name="T26" fmla="*/ 900 w 907"/>
                <a:gd name="T27" fmla="*/ 2 h 827"/>
                <a:gd name="T28" fmla="*/ 900 w 907"/>
                <a:gd name="T29" fmla="*/ 2 h 827"/>
                <a:gd name="T30" fmla="*/ 897 w 907"/>
                <a:gd name="T31" fmla="*/ 1 h 827"/>
                <a:gd name="T32" fmla="*/ 895 w 907"/>
                <a:gd name="T33" fmla="*/ 0 h 827"/>
                <a:gd name="T34" fmla="*/ 893 w 907"/>
                <a:gd name="T35" fmla="*/ 0 h 827"/>
                <a:gd name="T36" fmla="*/ 891 w 907"/>
                <a:gd name="T37" fmla="*/ 0 h 827"/>
                <a:gd name="T38" fmla="*/ 887 w 907"/>
                <a:gd name="T39" fmla="*/ 1 h 827"/>
                <a:gd name="T40" fmla="*/ 886 w 907"/>
                <a:gd name="T41" fmla="*/ 1 h 827"/>
                <a:gd name="T42" fmla="*/ 886 w 907"/>
                <a:gd name="T43" fmla="*/ 1 h 827"/>
                <a:gd name="T44" fmla="*/ 5 w 907"/>
                <a:gd name="T45" fmla="*/ 365 h 827"/>
                <a:gd name="T46" fmla="*/ 1 w 907"/>
                <a:gd name="T47" fmla="*/ 372 h 827"/>
                <a:gd name="T48" fmla="*/ 1 w 907"/>
                <a:gd name="T49" fmla="*/ 381 h 827"/>
                <a:gd name="T50" fmla="*/ 5 w 907"/>
                <a:gd name="T51" fmla="*/ 388 h 827"/>
                <a:gd name="T52" fmla="*/ 336 w 907"/>
                <a:gd name="T53" fmla="*/ 521 h 827"/>
                <a:gd name="T54" fmla="*/ 336 w 907"/>
                <a:gd name="T55" fmla="*/ 817 h 827"/>
                <a:gd name="T56" fmla="*/ 342 w 907"/>
                <a:gd name="T57" fmla="*/ 825 h 827"/>
                <a:gd name="T58" fmla="*/ 348 w 907"/>
                <a:gd name="T59" fmla="*/ 827 h 827"/>
                <a:gd name="T60" fmla="*/ 354 w 907"/>
                <a:gd name="T61" fmla="*/ 827 h 827"/>
                <a:gd name="T62" fmla="*/ 360 w 907"/>
                <a:gd name="T63" fmla="*/ 823 h 827"/>
                <a:gd name="T64" fmla="*/ 492 w 907"/>
                <a:gd name="T65" fmla="*/ 605 h 827"/>
                <a:gd name="T66" fmla="*/ 732 w 907"/>
                <a:gd name="T67" fmla="*/ 732 h 827"/>
                <a:gd name="T68" fmla="*/ 739 w 907"/>
                <a:gd name="T69" fmla="*/ 732 h 827"/>
                <a:gd name="T70" fmla="*/ 745 w 907"/>
                <a:gd name="T71" fmla="*/ 729 h 827"/>
                <a:gd name="T72" fmla="*/ 749 w 907"/>
                <a:gd name="T73" fmla="*/ 724 h 827"/>
                <a:gd name="T74" fmla="*/ 906 w 907"/>
                <a:gd name="T75" fmla="*/ 18 h 827"/>
                <a:gd name="T76" fmla="*/ 906 w 907"/>
                <a:gd name="T77" fmla="*/ 17 h 827"/>
                <a:gd name="T78" fmla="*/ 907 w 907"/>
                <a:gd name="T79" fmla="*/ 15 h 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07" h="827">
                  <a:moveTo>
                    <a:pt x="726" y="695"/>
                  </a:moveTo>
                  <a:lnTo>
                    <a:pt x="376" y="508"/>
                  </a:lnTo>
                  <a:lnTo>
                    <a:pt x="834" y="88"/>
                  </a:lnTo>
                  <a:lnTo>
                    <a:pt x="866" y="58"/>
                  </a:lnTo>
                  <a:lnTo>
                    <a:pt x="726" y="695"/>
                  </a:lnTo>
                  <a:close/>
                  <a:moveTo>
                    <a:pt x="366" y="758"/>
                  </a:moveTo>
                  <a:lnTo>
                    <a:pt x="366" y="536"/>
                  </a:lnTo>
                  <a:lnTo>
                    <a:pt x="466" y="590"/>
                  </a:lnTo>
                  <a:lnTo>
                    <a:pt x="366" y="758"/>
                  </a:lnTo>
                  <a:close/>
                  <a:moveTo>
                    <a:pt x="819" y="61"/>
                  </a:moveTo>
                  <a:lnTo>
                    <a:pt x="347" y="493"/>
                  </a:lnTo>
                  <a:lnTo>
                    <a:pt x="55" y="375"/>
                  </a:lnTo>
                  <a:lnTo>
                    <a:pt x="819" y="61"/>
                  </a:lnTo>
                  <a:close/>
                  <a:moveTo>
                    <a:pt x="907" y="15"/>
                  </a:moveTo>
                  <a:lnTo>
                    <a:pt x="907" y="14"/>
                  </a:lnTo>
                  <a:lnTo>
                    <a:pt x="906" y="12"/>
                  </a:lnTo>
                  <a:lnTo>
                    <a:pt x="906" y="12"/>
                  </a:lnTo>
                  <a:lnTo>
                    <a:pt x="906" y="11"/>
                  </a:lnTo>
                  <a:lnTo>
                    <a:pt x="905" y="9"/>
                  </a:lnTo>
                  <a:lnTo>
                    <a:pt x="905" y="8"/>
                  </a:lnTo>
                  <a:lnTo>
                    <a:pt x="905" y="8"/>
                  </a:lnTo>
                  <a:lnTo>
                    <a:pt x="905" y="6"/>
                  </a:lnTo>
                  <a:lnTo>
                    <a:pt x="904" y="6"/>
                  </a:lnTo>
                  <a:lnTo>
                    <a:pt x="904" y="5"/>
                  </a:lnTo>
                  <a:lnTo>
                    <a:pt x="903" y="4"/>
                  </a:lnTo>
                  <a:lnTo>
                    <a:pt x="902" y="3"/>
                  </a:lnTo>
                  <a:lnTo>
                    <a:pt x="901" y="3"/>
                  </a:lnTo>
                  <a:lnTo>
                    <a:pt x="900" y="2"/>
                  </a:lnTo>
                  <a:lnTo>
                    <a:pt x="900" y="2"/>
                  </a:lnTo>
                  <a:lnTo>
                    <a:pt x="900" y="2"/>
                  </a:lnTo>
                  <a:lnTo>
                    <a:pt x="898" y="1"/>
                  </a:lnTo>
                  <a:lnTo>
                    <a:pt x="897" y="1"/>
                  </a:lnTo>
                  <a:lnTo>
                    <a:pt x="896" y="1"/>
                  </a:lnTo>
                  <a:lnTo>
                    <a:pt x="895" y="0"/>
                  </a:lnTo>
                  <a:lnTo>
                    <a:pt x="894" y="0"/>
                  </a:lnTo>
                  <a:lnTo>
                    <a:pt x="893" y="0"/>
                  </a:lnTo>
                  <a:lnTo>
                    <a:pt x="892" y="0"/>
                  </a:lnTo>
                  <a:lnTo>
                    <a:pt x="891" y="0"/>
                  </a:lnTo>
                  <a:lnTo>
                    <a:pt x="889" y="0"/>
                  </a:lnTo>
                  <a:lnTo>
                    <a:pt x="887" y="1"/>
                  </a:lnTo>
                  <a:lnTo>
                    <a:pt x="887" y="1"/>
                  </a:lnTo>
                  <a:lnTo>
                    <a:pt x="886" y="1"/>
                  </a:lnTo>
                  <a:lnTo>
                    <a:pt x="886" y="1"/>
                  </a:lnTo>
                  <a:lnTo>
                    <a:pt x="886" y="1"/>
                  </a:lnTo>
                  <a:lnTo>
                    <a:pt x="10" y="362"/>
                  </a:lnTo>
                  <a:lnTo>
                    <a:pt x="5" y="365"/>
                  </a:lnTo>
                  <a:lnTo>
                    <a:pt x="2" y="368"/>
                  </a:lnTo>
                  <a:lnTo>
                    <a:pt x="1" y="372"/>
                  </a:lnTo>
                  <a:lnTo>
                    <a:pt x="0" y="376"/>
                  </a:lnTo>
                  <a:lnTo>
                    <a:pt x="1" y="381"/>
                  </a:lnTo>
                  <a:lnTo>
                    <a:pt x="2" y="384"/>
                  </a:lnTo>
                  <a:lnTo>
                    <a:pt x="5" y="388"/>
                  </a:lnTo>
                  <a:lnTo>
                    <a:pt x="10" y="390"/>
                  </a:lnTo>
                  <a:lnTo>
                    <a:pt x="336" y="521"/>
                  </a:lnTo>
                  <a:lnTo>
                    <a:pt x="336" y="812"/>
                  </a:lnTo>
                  <a:lnTo>
                    <a:pt x="336" y="817"/>
                  </a:lnTo>
                  <a:lnTo>
                    <a:pt x="338" y="821"/>
                  </a:lnTo>
                  <a:lnTo>
                    <a:pt x="342" y="825"/>
                  </a:lnTo>
                  <a:lnTo>
                    <a:pt x="346" y="827"/>
                  </a:lnTo>
                  <a:lnTo>
                    <a:pt x="348" y="827"/>
                  </a:lnTo>
                  <a:lnTo>
                    <a:pt x="351" y="827"/>
                  </a:lnTo>
                  <a:lnTo>
                    <a:pt x="354" y="827"/>
                  </a:lnTo>
                  <a:lnTo>
                    <a:pt x="357" y="826"/>
                  </a:lnTo>
                  <a:lnTo>
                    <a:pt x="360" y="823"/>
                  </a:lnTo>
                  <a:lnTo>
                    <a:pt x="363" y="820"/>
                  </a:lnTo>
                  <a:lnTo>
                    <a:pt x="492" y="605"/>
                  </a:lnTo>
                  <a:lnTo>
                    <a:pt x="729" y="730"/>
                  </a:lnTo>
                  <a:lnTo>
                    <a:pt x="732" y="732"/>
                  </a:lnTo>
                  <a:lnTo>
                    <a:pt x="736" y="732"/>
                  </a:lnTo>
                  <a:lnTo>
                    <a:pt x="739" y="732"/>
                  </a:lnTo>
                  <a:lnTo>
                    <a:pt x="742" y="731"/>
                  </a:lnTo>
                  <a:lnTo>
                    <a:pt x="745" y="729"/>
                  </a:lnTo>
                  <a:lnTo>
                    <a:pt x="747" y="727"/>
                  </a:lnTo>
                  <a:lnTo>
                    <a:pt x="749" y="724"/>
                  </a:lnTo>
                  <a:lnTo>
                    <a:pt x="751" y="721"/>
                  </a:lnTo>
                  <a:lnTo>
                    <a:pt x="906" y="18"/>
                  </a:lnTo>
                  <a:lnTo>
                    <a:pt x="906" y="17"/>
                  </a:lnTo>
                  <a:lnTo>
                    <a:pt x="906" y="17"/>
                  </a:lnTo>
                  <a:lnTo>
                    <a:pt x="907" y="16"/>
                  </a:lnTo>
                  <a:lnTo>
                    <a:pt x="907" y="1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9BAED14F-BA43-4934-8DC9-8A99CE732609}"/>
              </a:ext>
            </a:extLst>
          </p:cNvPr>
          <p:cNvGrpSpPr/>
          <p:nvPr/>
        </p:nvGrpSpPr>
        <p:grpSpPr>
          <a:xfrm>
            <a:off x="3514725" y="2991530"/>
            <a:ext cx="5162550" cy="1509712"/>
            <a:chOff x="3514725" y="2991530"/>
            <a:chExt cx="5162550" cy="1509712"/>
          </a:xfrm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138" name="Freeform 5">
              <a:extLst>
                <a:ext uri="{FF2B5EF4-FFF2-40B4-BE49-F238E27FC236}">
                  <a16:creationId xmlns:a16="http://schemas.microsoft.com/office/drawing/2014/main" id="{04855104-4CC4-4C29-9117-629FBD44BB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3787" y="2991530"/>
              <a:ext cx="369887" cy="452437"/>
            </a:xfrm>
            <a:custGeom>
              <a:avLst/>
              <a:gdLst>
                <a:gd name="T0" fmla="*/ 96 w 96"/>
                <a:gd name="T1" fmla="*/ 0 h 117"/>
                <a:gd name="T2" fmla="*/ 32 w 96"/>
                <a:gd name="T3" fmla="*/ 0 h 117"/>
                <a:gd name="T4" fmla="*/ 0 w 96"/>
                <a:gd name="T5" fmla="*/ 31 h 117"/>
                <a:gd name="T6" fmla="*/ 0 w 96"/>
                <a:gd name="T7" fmla="*/ 117 h 117"/>
                <a:gd name="T8" fmla="*/ 96 w 96"/>
                <a:gd name="T9" fmla="*/ 117 h 117"/>
                <a:gd name="T10" fmla="*/ 96 w 96"/>
                <a:gd name="T11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" h="117">
                  <a:moveTo>
                    <a:pt x="96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1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96" y="117"/>
                    <a:pt x="96" y="117"/>
                    <a:pt x="96" y="117"/>
                  </a:cubicBezTo>
                  <a:lnTo>
                    <a:pt x="96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6">
              <a:extLst>
                <a:ext uri="{FF2B5EF4-FFF2-40B4-BE49-F238E27FC236}">
                  <a16:creationId xmlns:a16="http://schemas.microsoft.com/office/drawing/2014/main" id="{37CD004B-A73D-4DC8-8A53-A65783EF5A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2400" y="3220130"/>
              <a:ext cx="4484687" cy="1103312"/>
            </a:xfrm>
            <a:custGeom>
              <a:avLst/>
              <a:gdLst>
                <a:gd name="T0" fmla="*/ 1150 w 1163"/>
                <a:gd name="T1" fmla="*/ 169 h 285"/>
                <a:gd name="T2" fmla="*/ 1089 w 1163"/>
                <a:gd name="T3" fmla="*/ 249 h 285"/>
                <a:gd name="T4" fmla="*/ 1016 w 1163"/>
                <a:gd name="T5" fmla="*/ 285 h 285"/>
                <a:gd name="T6" fmla="*/ 129 w 1163"/>
                <a:gd name="T7" fmla="*/ 285 h 285"/>
                <a:gd name="T8" fmla="*/ 0 w 1163"/>
                <a:gd name="T9" fmla="*/ 156 h 285"/>
                <a:gd name="T10" fmla="*/ 0 w 1163"/>
                <a:gd name="T11" fmla="*/ 0 h 285"/>
                <a:gd name="T12" fmla="*/ 1017 w 1163"/>
                <a:gd name="T13" fmla="*/ 0 h 285"/>
                <a:gd name="T14" fmla="*/ 1089 w 1163"/>
                <a:gd name="T15" fmla="*/ 35 h 285"/>
                <a:gd name="T16" fmla="*/ 1149 w 1163"/>
                <a:gd name="T17" fmla="*/ 112 h 285"/>
                <a:gd name="T18" fmla="*/ 1150 w 1163"/>
                <a:gd name="T19" fmla="*/ 169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3" h="285">
                  <a:moveTo>
                    <a:pt x="1150" y="169"/>
                  </a:moveTo>
                  <a:cubicBezTo>
                    <a:pt x="1089" y="249"/>
                    <a:pt x="1089" y="249"/>
                    <a:pt x="1089" y="249"/>
                  </a:cubicBezTo>
                  <a:cubicBezTo>
                    <a:pt x="1072" y="271"/>
                    <a:pt x="1045" y="285"/>
                    <a:pt x="1016" y="285"/>
                  </a:cubicBezTo>
                  <a:cubicBezTo>
                    <a:pt x="129" y="285"/>
                    <a:pt x="129" y="285"/>
                    <a:pt x="129" y="285"/>
                  </a:cubicBezTo>
                  <a:cubicBezTo>
                    <a:pt x="58" y="285"/>
                    <a:pt x="0" y="227"/>
                    <a:pt x="0" y="1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17" y="0"/>
                    <a:pt x="1017" y="0"/>
                    <a:pt x="1017" y="0"/>
                  </a:cubicBezTo>
                  <a:cubicBezTo>
                    <a:pt x="1045" y="0"/>
                    <a:pt x="1072" y="12"/>
                    <a:pt x="1089" y="35"/>
                  </a:cubicBezTo>
                  <a:cubicBezTo>
                    <a:pt x="1149" y="112"/>
                    <a:pt x="1149" y="112"/>
                    <a:pt x="1149" y="112"/>
                  </a:cubicBezTo>
                  <a:cubicBezTo>
                    <a:pt x="1163" y="129"/>
                    <a:pt x="1163" y="152"/>
                    <a:pt x="1150" y="16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7">
              <a:extLst>
                <a:ext uri="{FF2B5EF4-FFF2-40B4-BE49-F238E27FC236}">
                  <a16:creationId xmlns:a16="http://schemas.microsoft.com/office/drawing/2014/main" id="{2389E65E-F07B-4D42-A90D-DBEAF265B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725" y="2991530"/>
              <a:ext cx="1712912" cy="1331912"/>
            </a:xfrm>
            <a:custGeom>
              <a:avLst/>
              <a:gdLst>
                <a:gd name="T0" fmla="*/ 315 w 444"/>
                <a:gd name="T1" fmla="*/ 215 h 344"/>
                <a:gd name="T2" fmla="*/ 315 w 444"/>
                <a:gd name="T3" fmla="*/ 59 h 344"/>
                <a:gd name="T4" fmla="*/ 255 w 444"/>
                <a:gd name="T5" fmla="*/ 0 h 344"/>
                <a:gd name="T6" fmla="*/ 59 w 444"/>
                <a:gd name="T7" fmla="*/ 0 h 344"/>
                <a:gd name="T8" fmla="*/ 0 w 444"/>
                <a:gd name="T9" fmla="*/ 59 h 344"/>
                <a:gd name="T10" fmla="*/ 0 w 444"/>
                <a:gd name="T11" fmla="*/ 215 h 344"/>
                <a:gd name="T12" fmla="*/ 129 w 444"/>
                <a:gd name="T13" fmla="*/ 344 h 344"/>
                <a:gd name="T14" fmla="*/ 444 w 444"/>
                <a:gd name="T15" fmla="*/ 344 h 344"/>
                <a:gd name="T16" fmla="*/ 315 w 444"/>
                <a:gd name="T17" fmla="*/ 215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4" h="344">
                  <a:moveTo>
                    <a:pt x="315" y="215"/>
                  </a:moveTo>
                  <a:cubicBezTo>
                    <a:pt x="315" y="59"/>
                    <a:pt x="315" y="59"/>
                    <a:pt x="315" y="59"/>
                  </a:cubicBezTo>
                  <a:cubicBezTo>
                    <a:pt x="315" y="26"/>
                    <a:pt x="288" y="0"/>
                    <a:pt x="255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6" y="0"/>
                    <a:pt x="0" y="26"/>
                    <a:pt x="0" y="59"/>
                  </a:cubicBezTo>
                  <a:cubicBezTo>
                    <a:pt x="0" y="215"/>
                    <a:pt x="0" y="215"/>
                    <a:pt x="0" y="215"/>
                  </a:cubicBezTo>
                  <a:cubicBezTo>
                    <a:pt x="0" y="286"/>
                    <a:pt x="57" y="344"/>
                    <a:pt x="129" y="344"/>
                  </a:cubicBezTo>
                  <a:cubicBezTo>
                    <a:pt x="444" y="344"/>
                    <a:pt x="444" y="344"/>
                    <a:pt x="444" y="344"/>
                  </a:cubicBezTo>
                  <a:cubicBezTo>
                    <a:pt x="372" y="344"/>
                    <a:pt x="315" y="286"/>
                    <a:pt x="315" y="215"/>
                  </a:cubicBezTo>
                  <a:close/>
                </a:path>
              </a:pathLst>
            </a:custGeom>
            <a:solidFill>
              <a:srgbClr val="55627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8">
              <a:extLst>
                <a:ext uri="{FF2B5EF4-FFF2-40B4-BE49-F238E27FC236}">
                  <a16:creationId xmlns:a16="http://schemas.microsoft.com/office/drawing/2014/main" id="{EFC36BBD-45F2-421B-B575-CA5C906E1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9162" y="3220130"/>
              <a:ext cx="601662" cy="1103312"/>
            </a:xfrm>
            <a:custGeom>
              <a:avLst/>
              <a:gdLst>
                <a:gd name="T0" fmla="*/ 156 w 156"/>
                <a:gd name="T1" fmla="*/ 285 h 285"/>
                <a:gd name="T2" fmla="*/ 129 w 156"/>
                <a:gd name="T3" fmla="*/ 285 h 285"/>
                <a:gd name="T4" fmla="*/ 0 w 156"/>
                <a:gd name="T5" fmla="*/ 156 h 285"/>
                <a:gd name="T6" fmla="*/ 0 w 156"/>
                <a:gd name="T7" fmla="*/ 0 h 285"/>
                <a:gd name="T8" fmla="*/ 27 w 156"/>
                <a:gd name="T9" fmla="*/ 0 h 285"/>
                <a:gd name="T10" fmla="*/ 27 w 156"/>
                <a:gd name="T11" fmla="*/ 156 h 285"/>
                <a:gd name="T12" fmla="*/ 156 w 156"/>
                <a:gd name="T13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285">
                  <a:moveTo>
                    <a:pt x="156" y="285"/>
                  </a:moveTo>
                  <a:cubicBezTo>
                    <a:pt x="129" y="285"/>
                    <a:pt x="129" y="285"/>
                    <a:pt x="129" y="285"/>
                  </a:cubicBezTo>
                  <a:cubicBezTo>
                    <a:pt x="57" y="285"/>
                    <a:pt x="0" y="227"/>
                    <a:pt x="0" y="1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156"/>
                    <a:pt x="27" y="156"/>
                    <a:pt x="27" y="156"/>
                  </a:cubicBezTo>
                  <a:cubicBezTo>
                    <a:pt x="27" y="227"/>
                    <a:pt x="85" y="285"/>
                    <a:pt x="156" y="28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9">
              <a:extLst>
                <a:ext uri="{FF2B5EF4-FFF2-40B4-BE49-F238E27FC236}">
                  <a16:creationId xmlns:a16="http://schemas.microsoft.com/office/drawing/2014/main" id="{4F45EC9C-A6A2-420C-81F5-4FF98E4A3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3012" y="2991530"/>
              <a:ext cx="2900362" cy="503237"/>
            </a:xfrm>
            <a:custGeom>
              <a:avLst/>
              <a:gdLst>
                <a:gd name="T0" fmla="*/ 52 w 752"/>
                <a:gd name="T1" fmla="*/ 130 h 130"/>
                <a:gd name="T2" fmla="*/ 709 w 752"/>
                <a:gd name="T3" fmla="*/ 130 h 130"/>
                <a:gd name="T4" fmla="*/ 752 w 752"/>
                <a:gd name="T5" fmla="*/ 87 h 130"/>
                <a:gd name="T6" fmla="*/ 752 w 752"/>
                <a:gd name="T7" fmla="*/ 59 h 130"/>
                <a:gd name="T8" fmla="*/ 692 w 752"/>
                <a:gd name="T9" fmla="*/ 0 h 130"/>
                <a:gd name="T10" fmla="*/ 0 w 752"/>
                <a:gd name="T11" fmla="*/ 0 h 130"/>
                <a:gd name="T12" fmla="*/ 20 w 752"/>
                <a:gd name="T13" fmla="*/ 59 h 130"/>
                <a:gd name="T14" fmla="*/ 20 w 752"/>
                <a:gd name="T15" fmla="*/ 98 h 130"/>
                <a:gd name="T16" fmla="*/ 52 w 752"/>
                <a:gd name="T1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2" h="130">
                  <a:moveTo>
                    <a:pt x="52" y="130"/>
                  </a:moveTo>
                  <a:cubicBezTo>
                    <a:pt x="709" y="130"/>
                    <a:pt x="709" y="130"/>
                    <a:pt x="709" y="130"/>
                  </a:cubicBezTo>
                  <a:cubicBezTo>
                    <a:pt x="733" y="130"/>
                    <a:pt x="752" y="111"/>
                    <a:pt x="752" y="87"/>
                  </a:cubicBezTo>
                  <a:cubicBezTo>
                    <a:pt x="752" y="59"/>
                    <a:pt x="752" y="59"/>
                    <a:pt x="752" y="59"/>
                  </a:cubicBezTo>
                  <a:cubicBezTo>
                    <a:pt x="752" y="26"/>
                    <a:pt x="725" y="0"/>
                    <a:pt x="69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16"/>
                    <a:pt x="20" y="37"/>
                    <a:pt x="20" y="59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0" y="116"/>
                    <a:pt x="34" y="130"/>
                    <a:pt x="52" y="130"/>
                  </a:cubicBezTo>
                  <a:close/>
                </a:path>
              </a:pathLst>
            </a:custGeom>
            <a:solidFill>
              <a:srgbClr val="55627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Oval 10">
              <a:extLst>
                <a:ext uri="{FF2B5EF4-FFF2-40B4-BE49-F238E27FC236}">
                  <a16:creationId xmlns:a16="http://schemas.microsoft.com/office/drawing/2014/main" id="{5AAF2D75-C030-453A-A558-65CBC41DD6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1600" y="3540805"/>
              <a:ext cx="955675" cy="960437"/>
            </a:xfrm>
            <a:prstGeom prst="ellipse">
              <a:avLst/>
            </a:prstGeom>
            <a:solidFill>
              <a:srgbClr val="E46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1">
              <a:extLst>
                <a:ext uri="{FF2B5EF4-FFF2-40B4-BE49-F238E27FC236}">
                  <a16:creationId xmlns:a16="http://schemas.microsoft.com/office/drawing/2014/main" id="{F7BB0689-EE6F-4D92-81BD-298BF8BE2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9375" y="3478892"/>
              <a:ext cx="747712" cy="844550"/>
            </a:xfrm>
            <a:custGeom>
              <a:avLst/>
              <a:gdLst>
                <a:gd name="T0" fmla="*/ 0 w 194"/>
                <a:gd name="T1" fmla="*/ 123 h 218"/>
                <a:gd name="T2" fmla="*/ 43 w 194"/>
                <a:gd name="T3" fmla="*/ 218 h 218"/>
                <a:gd name="T4" fmla="*/ 47 w 194"/>
                <a:gd name="T5" fmla="*/ 218 h 218"/>
                <a:gd name="T6" fmla="*/ 120 w 194"/>
                <a:gd name="T7" fmla="*/ 182 h 218"/>
                <a:gd name="T8" fmla="*/ 181 w 194"/>
                <a:gd name="T9" fmla="*/ 102 h 218"/>
                <a:gd name="T10" fmla="*/ 180 w 194"/>
                <a:gd name="T11" fmla="*/ 45 h 218"/>
                <a:gd name="T12" fmla="*/ 147 w 194"/>
                <a:gd name="T13" fmla="*/ 2 h 218"/>
                <a:gd name="T14" fmla="*/ 124 w 194"/>
                <a:gd name="T15" fmla="*/ 0 h 218"/>
                <a:gd name="T16" fmla="*/ 0 w 194"/>
                <a:gd name="T17" fmla="*/ 12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4" h="218">
                  <a:moveTo>
                    <a:pt x="0" y="123"/>
                  </a:moveTo>
                  <a:cubicBezTo>
                    <a:pt x="0" y="161"/>
                    <a:pt x="17" y="195"/>
                    <a:pt x="43" y="218"/>
                  </a:cubicBezTo>
                  <a:cubicBezTo>
                    <a:pt x="47" y="218"/>
                    <a:pt x="47" y="218"/>
                    <a:pt x="47" y="218"/>
                  </a:cubicBezTo>
                  <a:cubicBezTo>
                    <a:pt x="76" y="218"/>
                    <a:pt x="103" y="204"/>
                    <a:pt x="120" y="182"/>
                  </a:cubicBezTo>
                  <a:cubicBezTo>
                    <a:pt x="181" y="102"/>
                    <a:pt x="181" y="102"/>
                    <a:pt x="181" y="102"/>
                  </a:cubicBezTo>
                  <a:cubicBezTo>
                    <a:pt x="194" y="85"/>
                    <a:pt x="194" y="62"/>
                    <a:pt x="180" y="45"/>
                  </a:cubicBezTo>
                  <a:cubicBezTo>
                    <a:pt x="147" y="2"/>
                    <a:pt x="147" y="2"/>
                    <a:pt x="147" y="2"/>
                  </a:cubicBezTo>
                  <a:cubicBezTo>
                    <a:pt x="139" y="0"/>
                    <a:pt x="131" y="0"/>
                    <a:pt x="124" y="0"/>
                  </a:cubicBezTo>
                  <a:cubicBezTo>
                    <a:pt x="55" y="0"/>
                    <a:pt x="0" y="55"/>
                    <a:pt x="0" y="1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Oval 12">
              <a:extLst>
                <a:ext uri="{FF2B5EF4-FFF2-40B4-BE49-F238E27FC236}">
                  <a16:creationId xmlns:a16="http://schemas.microsoft.com/office/drawing/2014/main" id="{A8769C1C-7916-4638-B3C9-2E2AEE346A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1600" y="3540805"/>
              <a:ext cx="955675" cy="960437"/>
            </a:xfrm>
            <a:prstGeom prst="ellipse">
              <a:avLst/>
            </a:prstGeom>
            <a:solidFill>
              <a:srgbClr val="55627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3">
              <a:extLst>
                <a:ext uri="{FF2B5EF4-FFF2-40B4-BE49-F238E27FC236}">
                  <a16:creationId xmlns:a16="http://schemas.microsoft.com/office/drawing/2014/main" id="{16D9AF4B-C7BE-44C8-91CC-7B0407B338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07325" y="3621767"/>
              <a:ext cx="785812" cy="793750"/>
            </a:xfrm>
            <a:custGeom>
              <a:avLst/>
              <a:gdLst>
                <a:gd name="T0" fmla="*/ 102 w 204"/>
                <a:gd name="T1" fmla="*/ 0 h 205"/>
                <a:gd name="T2" fmla="*/ 0 w 204"/>
                <a:gd name="T3" fmla="*/ 103 h 205"/>
                <a:gd name="T4" fmla="*/ 102 w 204"/>
                <a:gd name="T5" fmla="*/ 205 h 205"/>
                <a:gd name="T6" fmla="*/ 204 w 204"/>
                <a:gd name="T7" fmla="*/ 103 h 205"/>
                <a:gd name="T8" fmla="*/ 102 w 204"/>
                <a:gd name="T9" fmla="*/ 0 h 205"/>
                <a:gd name="T10" fmla="*/ 102 w 204"/>
                <a:gd name="T11" fmla="*/ 192 h 205"/>
                <a:gd name="T12" fmla="*/ 13 w 204"/>
                <a:gd name="T13" fmla="*/ 103 h 205"/>
                <a:gd name="T14" fmla="*/ 102 w 204"/>
                <a:gd name="T15" fmla="*/ 14 h 205"/>
                <a:gd name="T16" fmla="*/ 191 w 204"/>
                <a:gd name="T17" fmla="*/ 103 h 205"/>
                <a:gd name="T18" fmla="*/ 102 w 204"/>
                <a:gd name="T19" fmla="*/ 19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4" h="205">
                  <a:moveTo>
                    <a:pt x="102" y="0"/>
                  </a:moveTo>
                  <a:cubicBezTo>
                    <a:pt x="45" y="0"/>
                    <a:pt x="0" y="46"/>
                    <a:pt x="0" y="103"/>
                  </a:cubicBezTo>
                  <a:cubicBezTo>
                    <a:pt x="0" y="159"/>
                    <a:pt x="45" y="205"/>
                    <a:pt x="102" y="205"/>
                  </a:cubicBezTo>
                  <a:cubicBezTo>
                    <a:pt x="159" y="205"/>
                    <a:pt x="204" y="159"/>
                    <a:pt x="204" y="103"/>
                  </a:cubicBezTo>
                  <a:cubicBezTo>
                    <a:pt x="204" y="46"/>
                    <a:pt x="159" y="0"/>
                    <a:pt x="102" y="0"/>
                  </a:cubicBezTo>
                  <a:close/>
                  <a:moveTo>
                    <a:pt x="102" y="192"/>
                  </a:moveTo>
                  <a:cubicBezTo>
                    <a:pt x="53" y="192"/>
                    <a:pt x="13" y="152"/>
                    <a:pt x="13" y="103"/>
                  </a:cubicBezTo>
                  <a:cubicBezTo>
                    <a:pt x="13" y="54"/>
                    <a:pt x="53" y="14"/>
                    <a:pt x="102" y="14"/>
                  </a:cubicBezTo>
                  <a:cubicBezTo>
                    <a:pt x="151" y="14"/>
                    <a:pt x="191" y="54"/>
                    <a:pt x="191" y="103"/>
                  </a:cubicBezTo>
                  <a:cubicBezTo>
                    <a:pt x="191" y="152"/>
                    <a:pt x="151" y="192"/>
                    <a:pt x="102" y="1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E4ED388D-0670-431A-ACB3-A67E7DD66380}"/>
                </a:ext>
              </a:extLst>
            </p:cNvPr>
            <p:cNvSpPr txBox="1"/>
            <p:nvPr/>
          </p:nvSpPr>
          <p:spPr>
            <a:xfrm>
              <a:off x="4980899" y="3640227"/>
              <a:ext cx="2572426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rem ipsum dolor sit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et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sectetur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ipiscing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lit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2BE0B252-4CA8-4891-9888-57E7DC015910}"/>
                </a:ext>
              </a:extLst>
            </p:cNvPr>
            <p:cNvSpPr txBox="1"/>
            <p:nvPr/>
          </p:nvSpPr>
          <p:spPr>
            <a:xfrm>
              <a:off x="5347500" y="3093871"/>
              <a:ext cx="2401874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>
                  <a:solidFill>
                    <a:schemeClr val="bg1"/>
                  </a:solidFill>
                </a:rPr>
                <a:t>LOREM IPSUM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7BD88D3E-48FA-4E5B-865A-F335EA6EC1DC}"/>
                </a:ext>
              </a:extLst>
            </p:cNvPr>
            <p:cNvSpPr txBox="1"/>
            <p:nvPr/>
          </p:nvSpPr>
          <p:spPr>
            <a:xfrm>
              <a:off x="3723555" y="3248062"/>
              <a:ext cx="824616" cy="73866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4800">
                  <a:solidFill>
                    <a:schemeClr val="bg1"/>
                  </a:solidFill>
                </a:rPr>
                <a:t>02</a:t>
              </a:r>
            </a:p>
          </p:txBody>
        </p: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CAA2A0CA-C149-4057-8677-CBD3AE4C7CB1}"/>
                </a:ext>
              </a:extLst>
            </p:cNvPr>
            <p:cNvGrpSpPr/>
            <p:nvPr/>
          </p:nvGrpSpPr>
          <p:grpSpPr>
            <a:xfrm>
              <a:off x="8080374" y="3878148"/>
              <a:ext cx="238126" cy="285750"/>
              <a:chOff x="6489700" y="1933576"/>
              <a:chExt cx="238126" cy="285750"/>
            </a:xfrm>
            <a:solidFill>
              <a:schemeClr val="bg1"/>
            </a:solidFill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grpSpPr>
          <p:sp>
            <p:nvSpPr>
              <p:cNvPr id="128" name="Freeform 304">
                <a:extLst>
                  <a:ext uri="{FF2B5EF4-FFF2-40B4-BE49-F238E27FC236}">
                    <a16:creationId xmlns:a16="http://schemas.microsoft.com/office/drawing/2014/main" id="{7AAF647D-7E93-4EFE-A3B5-64DB89924D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89700" y="1933576"/>
                <a:ext cx="200025" cy="257175"/>
              </a:xfrm>
              <a:custGeom>
                <a:avLst/>
                <a:gdLst>
                  <a:gd name="T0" fmla="*/ 580 w 631"/>
                  <a:gd name="T1" fmla="*/ 180 h 811"/>
                  <a:gd name="T2" fmla="*/ 450 w 631"/>
                  <a:gd name="T3" fmla="*/ 52 h 811"/>
                  <a:gd name="T4" fmla="*/ 30 w 631"/>
                  <a:gd name="T5" fmla="*/ 781 h 811"/>
                  <a:gd name="T6" fmla="*/ 420 w 631"/>
                  <a:gd name="T7" fmla="*/ 30 h 811"/>
                  <a:gd name="T8" fmla="*/ 421 w 631"/>
                  <a:gd name="T9" fmla="*/ 198 h 811"/>
                  <a:gd name="T10" fmla="*/ 424 w 631"/>
                  <a:gd name="T11" fmla="*/ 203 h 811"/>
                  <a:gd name="T12" fmla="*/ 427 w 631"/>
                  <a:gd name="T13" fmla="*/ 208 h 811"/>
                  <a:gd name="T14" fmla="*/ 432 w 631"/>
                  <a:gd name="T15" fmla="*/ 210 h 811"/>
                  <a:gd name="T16" fmla="*/ 601 w 631"/>
                  <a:gd name="T17" fmla="*/ 210 h 811"/>
                  <a:gd name="T18" fmla="*/ 601 w 631"/>
                  <a:gd name="T19" fmla="*/ 273 h 811"/>
                  <a:gd name="T20" fmla="*/ 603 w 631"/>
                  <a:gd name="T21" fmla="*/ 279 h 811"/>
                  <a:gd name="T22" fmla="*/ 608 w 631"/>
                  <a:gd name="T23" fmla="*/ 282 h 811"/>
                  <a:gd name="T24" fmla="*/ 613 w 631"/>
                  <a:gd name="T25" fmla="*/ 285 h 811"/>
                  <a:gd name="T26" fmla="*/ 619 w 631"/>
                  <a:gd name="T27" fmla="*/ 285 h 811"/>
                  <a:gd name="T28" fmla="*/ 625 w 631"/>
                  <a:gd name="T29" fmla="*/ 282 h 811"/>
                  <a:gd name="T30" fmla="*/ 628 w 631"/>
                  <a:gd name="T31" fmla="*/ 279 h 811"/>
                  <a:gd name="T32" fmla="*/ 630 w 631"/>
                  <a:gd name="T33" fmla="*/ 273 h 811"/>
                  <a:gd name="T34" fmla="*/ 631 w 631"/>
                  <a:gd name="T35" fmla="*/ 195 h 811"/>
                  <a:gd name="T36" fmla="*/ 627 w 631"/>
                  <a:gd name="T37" fmla="*/ 184 h 811"/>
                  <a:gd name="T38" fmla="*/ 444 w 631"/>
                  <a:gd name="T39" fmla="*/ 2 h 811"/>
                  <a:gd name="T40" fmla="*/ 439 w 631"/>
                  <a:gd name="T41" fmla="*/ 0 h 811"/>
                  <a:gd name="T42" fmla="*/ 15 w 631"/>
                  <a:gd name="T43" fmla="*/ 0 h 811"/>
                  <a:gd name="T44" fmla="*/ 9 w 631"/>
                  <a:gd name="T45" fmla="*/ 1 h 811"/>
                  <a:gd name="T46" fmla="*/ 4 w 631"/>
                  <a:gd name="T47" fmla="*/ 4 h 811"/>
                  <a:gd name="T48" fmla="*/ 1 w 631"/>
                  <a:gd name="T49" fmla="*/ 10 h 811"/>
                  <a:gd name="T50" fmla="*/ 0 w 631"/>
                  <a:gd name="T51" fmla="*/ 15 h 811"/>
                  <a:gd name="T52" fmla="*/ 1 w 631"/>
                  <a:gd name="T53" fmla="*/ 799 h 811"/>
                  <a:gd name="T54" fmla="*/ 3 w 631"/>
                  <a:gd name="T55" fmla="*/ 805 h 811"/>
                  <a:gd name="T56" fmla="*/ 6 w 631"/>
                  <a:gd name="T57" fmla="*/ 808 h 811"/>
                  <a:gd name="T58" fmla="*/ 12 w 631"/>
                  <a:gd name="T59" fmla="*/ 810 h 811"/>
                  <a:gd name="T60" fmla="*/ 351 w 631"/>
                  <a:gd name="T61" fmla="*/ 811 h 811"/>
                  <a:gd name="T62" fmla="*/ 357 w 631"/>
                  <a:gd name="T63" fmla="*/ 810 h 811"/>
                  <a:gd name="T64" fmla="*/ 362 w 631"/>
                  <a:gd name="T65" fmla="*/ 807 h 811"/>
                  <a:gd name="T66" fmla="*/ 365 w 631"/>
                  <a:gd name="T67" fmla="*/ 801 h 811"/>
                  <a:gd name="T68" fmla="*/ 366 w 631"/>
                  <a:gd name="T69" fmla="*/ 796 h 811"/>
                  <a:gd name="T70" fmla="*/ 365 w 631"/>
                  <a:gd name="T71" fmla="*/ 790 h 811"/>
                  <a:gd name="T72" fmla="*/ 362 w 631"/>
                  <a:gd name="T73" fmla="*/ 785 h 811"/>
                  <a:gd name="T74" fmla="*/ 357 w 631"/>
                  <a:gd name="T75" fmla="*/ 782 h 811"/>
                  <a:gd name="T76" fmla="*/ 351 w 631"/>
                  <a:gd name="T77" fmla="*/ 781 h 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631" h="811">
                    <a:moveTo>
                      <a:pt x="450" y="52"/>
                    </a:moveTo>
                    <a:lnTo>
                      <a:pt x="580" y="180"/>
                    </a:lnTo>
                    <a:lnTo>
                      <a:pt x="450" y="180"/>
                    </a:lnTo>
                    <a:lnTo>
                      <a:pt x="450" y="52"/>
                    </a:lnTo>
                    <a:close/>
                    <a:moveTo>
                      <a:pt x="351" y="781"/>
                    </a:moveTo>
                    <a:lnTo>
                      <a:pt x="30" y="781"/>
                    </a:lnTo>
                    <a:lnTo>
                      <a:pt x="30" y="30"/>
                    </a:lnTo>
                    <a:lnTo>
                      <a:pt x="420" y="30"/>
                    </a:lnTo>
                    <a:lnTo>
                      <a:pt x="420" y="195"/>
                    </a:lnTo>
                    <a:lnTo>
                      <a:pt x="421" y="198"/>
                    </a:lnTo>
                    <a:lnTo>
                      <a:pt x="421" y="201"/>
                    </a:lnTo>
                    <a:lnTo>
                      <a:pt x="424" y="203"/>
                    </a:lnTo>
                    <a:lnTo>
                      <a:pt x="425" y="205"/>
                    </a:lnTo>
                    <a:lnTo>
                      <a:pt x="427" y="208"/>
                    </a:lnTo>
                    <a:lnTo>
                      <a:pt x="430" y="209"/>
                    </a:lnTo>
                    <a:lnTo>
                      <a:pt x="432" y="210"/>
                    </a:lnTo>
                    <a:lnTo>
                      <a:pt x="435" y="210"/>
                    </a:lnTo>
                    <a:lnTo>
                      <a:pt x="601" y="210"/>
                    </a:lnTo>
                    <a:lnTo>
                      <a:pt x="601" y="270"/>
                    </a:lnTo>
                    <a:lnTo>
                      <a:pt x="601" y="273"/>
                    </a:lnTo>
                    <a:lnTo>
                      <a:pt x="602" y="276"/>
                    </a:lnTo>
                    <a:lnTo>
                      <a:pt x="603" y="279"/>
                    </a:lnTo>
                    <a:lnTo>
                      <a:pt x="605" y="281"/>
                    </a:lnTo>
                    <a:lnTo>
                      <a:pt x="608" y="282"/>
                    </a:lnTo>
                    <a:lnTo>
                      <a:pt x="610" y="284"/>
                    </a:lnTo>
                    <a:lnTo>
                      <a:pt x="613" y="285"/>
                    </a:lnTo>
                    <a:lnTo>
                      <a:pt x="616" y="285"/>
                    </a:lnTo>
                    <a:lnTo>
                      <a:pt x="619" y="285"/>
                    </a:lnTo>
                    <a:lnTo>
                      <a:pt x="622" y="284"/>
                    </a:lnTo>
                    <a:lnTo>
                      <a:pt x="625" y="282"/>
                    </a:lnTo>
                    <a:lnTo>
                      <a:pt x="627" y="281"/>
                    </a:lnTo>
                    <a:lnTo>
                      <a:pt x="628" y="279"/>
                    </a:lnTo>
                    <a:lnTo>
                      <a:pt x="630" y="276"/>
                    </a:lnTo>
                    <a:lnTo>
                      <a:pt x="630" y="273"/>
                    </a:lnTo>
                    <a:lnTo>
                      <a:pt x="631" y="270"/>
                    </a:lnTo>
                    <a:lnTo>
                      <a:pt x="631" y="195"/>
                    </a:lnTo>
                    <a:lnTo>
                      <a:pt x="630" y="189"/>
                    </a:lnTo>
                    <a:lnTo>
                      <a:pt x="627" y="184"/>
                    </a:lnTo>
                    <a:lnTo>
                      <a:pt x="446" y="4"/>
                    </a:lnTo>
                    <a:lnTo>
                      <a:pt x="444" y="2"/>
                    </a:lnTo>
                    <a:lnTo>
                      <a:pt x="442" y="1"/>
                    </a:lnTo>
                    <a:lnTo>
                      <a:pt x="439" y="0"/>
                    </a:lnTo>
                    <a:lnTo>
                      <a:pt x="435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9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10"/>
                    </a:lnTo>
                    <a:lnTo>
                      <a:pt x="1" y="12"/>
                    </a:lnTo>
                    <a:lnTo>
                      <a:pt x="0" y="15"/>
                    </a:lnTo>
                    <a:lnTo>
                      <a:pt x="0" y="796"/>
                    </a:lnTo>
                    <a:lnTo>
                      <a:pt x="1" y="799"/>
                    </a:lnTo>
                    <a:lnTo>
                      <a:pt x="1" y="801"/>
                    </a:lnTo>
                    <a:lnTo>
                      <a:pt x="3" y="805"/>
                    </a:lnTo>
                    <a:lnTo>
                      <a:pt x="4" y="807"/>
                    </a:lnTo>
                    <a:lnTo>
                      <a:pt x="6" y="808"/>
                    </a:lnTo>
                    <a:lnTo>
                      <a:pt x="9" y="810"/>
                    </a:lnTo>
                    <a:lnTo>
                      <a:pt x="12" y="810"/>
                    </a:lnTo>
                    <a:lnTo>
                      <a:pt x="15" y="811"/>
                    </a:lnTo>
                    <a:lnTo>
                      <a:pt x="351" y="811"/>
                    </a:lnTo>
                    <a:lnTo>
                      <a:pt x="354" y="810"/>
                    </a:lnTo>
                    <a:lnTo>
                      <a:pt x="357" y="810"/>
                    </a:lnTo>
                    <a:lnTo>
                      <a:pt x="359" y="808"/>
                    </a:lnTo>
                    <a:lnTo>
                      <a:pt x="362" y="807"/>
                    </a:lnTo>
                    <a:lnTo>
                      <a:pt x="364" y="805"/>
                    </a:lnTo>
                    <a:lnTo>
                      <a:pt x="365" y="801"/>
                    </a:lnTo>
                    <a:lnTo>
                      <a:pt x="366" y="799"/>
                    </a:lnTo>
                    <a:lnTo>
                      <a:pt x="366" y="796"/>
                    </a:lnTo>
                    <a:lnTo>
                      <a:pt x="366" y="793"/>
                    </a:lnTo>
                    <a:lnTo>
                      <a:pt x="365" y="790"/>
                    </a:lnTo>
                    <a:lnTo>
                      <a:pt x="364" y="788"/>
                    </a:lnTo>
                    <a:lnTo>
                      <a:pt x="362" y="785"/>
                    </a:lnTo>
                    <a:lnTo>
                      <a:pt x="359" y="783"/>
                    </a:lnTo>
                    <a:lnTo>
                      <a:pt x="357" y="782"/>
                    </a:lnTo>
                    <a:lnTo>
                      <a:pt x="354" y="781"/>
                    </a:lnTo>
                    <a:lnTo>
                      <a:pt x="351" y="7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05">
                <a:extLst>
                  <a:ext uri="{FF2B5EF4-FFF2-40B4-BE49-F238E27FC236}">
                    <a16:creationId xmlns:a16="http://schemas.microsoft.com/office/drawing/2014/main" id="{106152A7-D7E0-4272-AB6D-17E0FC9C37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51625" y="2076451"/>
                <a:ext cx="47625" cy="47625"/>
              </a:xfrm>
              <a:custGeom>
                <a:avLst/>
                <a:gdLst>
                  <a:gd name="T0" fmla="*/ 85 w 151"/>
                  <a:gd name="T1" fmla="*/ 31 h 150"/>
                  <a:gd name="T2" fmla="*/ 101 w 151"/>
                  <a:gd name="T3" fmla="*/ 38 h 150"/>
                  <a:gd name="T4" fmla="*/ 114 w 151"/>
                  <a:gd name="T5" fmla="*/ 51 h 150"/>
                  <a:gd name="T6" fmla="*/ 120 w 151"/>
                  <a:gd name="T7" fmla="*/ 67 h 150"/>
                  <a:gd name="T8" fmla="*/ 120 w 151"/>
                  <a:gd name="T9" fmla="*/ 85 h 150"/>
                  <a:gd name="T10" fmla="*/ 114 w 151"/>
                  <a:gd name="T11" fmla="*/ 101 h 150"/>
                  <a:gd name="T12" fmla="*/ 101 w 151"/>
                  <a:gd name="T13" fmla="*/ 113 h 150"/>
                  <a:gd name="T14" fmla="*/ 85 w 151"/>
                  <a:gd name="T15" fmla="*/ 119 h 150"/>
                  <a:gd name="T16" fmla="*/ 67 w 151"/>
                  <a:gd name="T17" fmla="*/ 119 h 150"/>
                  <a:gd name="T18" fmla="*/ 51 w 151"/>
                  <a:gd name="T19" fmla="*/ 113 h 150"/>
                  <a:gd name="T20" fmla="*/ 39 w 151"/>
                  <a:gd name="T21" fmla="*/ 101 h 150"/>
                  <a:gd name="T22" fmla="*/ 31 w 151"/>
                  <a:gd name="T23" fmla="*/ 85 h 150"/>
                  <a:gd name="T24" fmla="*/ 31 w 151"/>
                  <a:gd name="T25" fmla="*/ 67 h 150"/>
                  <a:gd name="T26" fmla="*/ 39 w 151"/>
                  <a:gd name="T27" fmla="*/ 51 h 150"/>
                  <a:gd name="T28" fmla="*/ 51 w 151"/>
                  <a:gd name="T29" fmla="*/ 38 h 150"/>
                  <a:gd name="T30" fmla="*/ 67 w 151"/>
                  <a:gd name="T31" fmla="*/ 31 h 150"/>
                  <a:gd name="T32" fmla="*/ 76 w 151"/>
                  <a:gd name="T33" fmla="*/ 150 h 150"/>
                  <a:gd name="T34" fmla="*/ 91 w 151"/>
                  <a:gd name="T35" fmla="*/ 149 h 150"/>
                  <a:gd name="T36" fmla="*/ 105 w 151"/>
                  <a:gd name="T37" fmla="*/ 145 h 150"/>
                  <a:gd name="T38" fmla="*/ 118 w 151"/>
                  <a:gd name="T39" fmla="*/ 137 h 150"/>
                  <a:gd name="T40" fmla="*/ 129 w 151"/>
                  <a:gd name="T41" fmla="*/ 129 h 150"/>
                  <a:gd name="T42" fmla="*/ 138 w 151"/>
                  <a:gd name="T43" fmla="*/ 117 h 150"/>
                  <a:gd name="T44" fmla="*/ 145 w 151"/>
                  <a:gd name="T45" fmla="*/ 105 h 150"/>
                  <a:gd name="T46" fmla="*/ 149 w 151"/>
                  <a:gd name="T47" fmla="*/ 90 h 150"/>
                  <a:gd name="T48" fmla="*/ 151 w 151"/>
                  <a:gd name="T49" fmla="*/ 75 h 150"/>
                  <a:gd name="T50" fmla="*/ 149 w 151"/>
                  <a:gd name="T51" fmla="*/ 60 h 150"/>
                  <a:gd name="T52" fmla="*/ 145 w 151"/>
                  <a:gd name="T53" fmla="*/ 46 h 150"/>
                  <a:gd name="T54" fmla="*/ 138 w 151"/>
                  <a:gd name="T55" fmla="*/ 34 h 150"/>
                  <a:gd name="T56" fmla="*/ 129 w 151"/>
                  <a:gd name="T57" fmla="*/ 23 h 150"/>
                  <a:gd name="T58" fmla="*/ 118 w 151"/>
                  <a:gd name="T59" fmla="*/ 13 h 150"/>
                  <a:gd name="T60" fmla="*/ 105 w 151"/>
                  <a:gd name="T61" fmla="*/ 6 h 150"/>
                  <a:gd name="T62" fmla="*/ 91 w 151"/>
                  <a:gd name="T63" fmla="*/ 2 h 150"/>
                  <a:gd name="T64" fmla="*/ 76 w 151"/>
                  <a:gd name="T65" fmla="*/ 0 h 150"/>
                  <a:gd name="T66" fmla="*/ 61 w 151"/>
                  <a:gd name="T67" fmla="*/ 2 h 150"/>
                  <a:gd name="T68" fmla="*/ 46 w 151"/>
                  <a:gd name="T69" fmla="*/ 6 h 150"/>
                  <a:gd name="T70" fmla="*/ 33 w 151"/>
                  <a:gd name="T71" fmla="*/ 13 h 150"/>
                  <a:gd name="T72" fmla="*/ 23 w 151"/>
                  <a:gd name="T73" fmla="*/ 23 h 150"/>
                  <a:gd name="T74" fmla="*/ 13 w 151"/>
                  <a:gd name="T75" fmla="*/ 34 h 150"/>
                  <a:gd name="T76" fmla="*/ 7 w 151"/>
                  <a:gd name="T77" fmla="*/ 46 h 150"/>
                  <a:gd name="T78" fmla="*/ 2 w 151"/>
                  <a:gd name="T79" fmla="*/ 60 h 150"/>
                  <a:gd name="T80" fmla="*/ 0 w 151"/>
                  <a:gd name="T81" fmla="*/ 75 h 150"/>
                  <a:gd name="T82" fmla="*/ 2 w 151"/>
                  <a:gd name="T83" fmla="*/ 90 h 150"/>
                  <a:gd name="T84" fmla="*/ 7 w 151"/>
                  <a:gd name="T85" fmla="*/ 105 h 150"/>
                  <a:gd name="T86" fmla="*/ 13 w 151"/>
                  <a:gd name="T87" fmla="*/ 117 h 150"/>
                  <a:gd name="T88" fmla="*/ 23 w 151"/>
                  <a:gd name="T89" fmla="*/ 129 h 150"/>
                  <a:gd name="T90" fmla="*/ 33 w 151"/>
                  <a:gd name="T91" fmla="*/ 137 h 150"/>
                  <a:gd name="T92" fmla="*/ 46 w 151"/>
                  <a:gd name="T93" fmla="*/ 145 h 150"/>
                  <a:gd name="T94" fmla="*/ 61 w 151"/>
                  <a:gd name="T95" fmla="*/ 149 h 150"/>
                  <a:gd name="T96" fmla="*/ 76 w 151"/>
                  <a:gd name="T97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51" h="150">
                    <a:moveTo>
                      <a:pt x="76" y="30"/>
                    </a:moveTo>
                    <a:lnTo>
                      <a:pt x="85" y="31"/>
                    </a:lnTo>
                    <a:lnTo>
                      <a:pt x="93" y="34"/>
                    </a:lnTo>
                    <a:lnTo>
                      <a:pt x="101" y="38"/>
                    </a:lnTo>
                    <a:lnTo>
                      <a:pt x="107" y="44"/>
                    </a:lnTo>
                    <a:lnTo>
                      <a:pt x="114" y="51"/>
                    </a:lnTo>
                    <a:lnTo>
                      <a:pt x="117" y="58"/>
                    </a:lnTo>
                    <a:lnTo>
                      <a:pt x="120" y="67"/>
                    </a:lnTo>
                    <a:lnTo>
                      <a:pt x="121" y="75"/>
                    </a:lnTo>
                    <a:lnTo>
                      <a:pt x="120" y="85"/>
                    </a:lnTo>
                    <a:lnTo>
                      <a:pt x="117" y="94"/>
                    </a:lnTo>
                    <a:lnTo>
                      <a:pt x="114" y="101"/>
                    </a:lnTo>
                    <a:lnTo>
                      <a:pt x="107" y="107"/>
                    </a:lnTo>
                    <a:lnTo>
                      <a:pt x="101" y="113"/>
                    </a:lnTo>
                    <a:lnTo>
                      <a:pt x="93" y="117"/>
                    </a:lnTo>
                    <a:lnTo>
                      <a:pt x="85" y="119"/>
                    </a:lnTo>
                    <a:lnTo>
                      <a:pt x="76" y="120"/>
                    </a:lnTo>
                    <a:lnTo>
                      <a:pt x="67" y="119"/>
                    </a:lnTo>
                    <a:lnTo>
                      <a:pt x="58" y="117"/>
                    </a:lnTo>
                    <a:lnTo>
                      <a:pt x="51" y="113"/>
                    </a:lnTo>
                    <a:lnTo>
                      <a:pt x="44" y="107"/>
                    </a:lnTo>
                    <a:lnTo>
                      <a:pt x="39" y="101"/>
                    </a:lnTo>
                    <a:lnTo>
                      <a:pt x="34" y="94"/>
                    </a:lnTo>
                    <a:lnTo>
                      <a:pt x="31" y="85"/>
                    </a:lnTo>
                    <a:lnTo>
                      <a:pt x="31" y="75"/>
                    </a:lnTo>
                    <a:lnTo>
                      <a:pt x="31" y="67"/>
                    </a:lnTo>
                    <a:lnTo>
                      <a:pt x="34" y="58"/>
                    </a:lnTo>
                    <a:lnTo>
                      <a:pt x="39" y="51"/>
                    </a:lnTo>
                    <a:lnTo>
                      <a:pt x="44" y="44"/>
                    </a:lnTo>
                    <a:lnTo>
                      <a:pt x="51" y="38"/>
                    </a:lnTo>
                    <a:lnTo>
                      <a:pt x="58" y="34"/>
                    </a:lnTo>
                    <a:lnTo>
                      <a:pt x="67" y="31"/>
                    </a:lnTo>
                    <a:lnTo>
                      <a:pt x="76" y="30"/>
                    </a:lnTo>
                    <a:close/>
                    <a:moveTo>
                      <a:pt x="76" y="150"/>
                    </a:moveTo>
                    <a:lnTo>
                      <a:pt x="84" y="150"/>
                    </a:lnTo>
                    <a:lnTo>
                      <a:pt x="91" y="149"/>
                    </a:lnTo>
                    <a:lnTo>
                      <a:pt x="98" y="147"/>
                    </a:lnTo>
                    <a:lnTo>
                      <a:pt x="105" y="145"/>
                    </a:lnTo>
                    <a:lnTo>
                      <a:pt x="112" y="142"/>
                    </a:lnTo>
                    <a:lnTo>
                      <a:pt x="118" y="137"/>
                    </a:lnTo>
                    <a:lnTo>
                      <a:pt x="123" y="133"/>
                    </a:lnTo>
                    <a:lnTo>
                      <a:pt x="129" y="129"/>
                    </a:lnTo>
                    <a:lnTo>
                      <a:pt x="134" y="124"/>
                    </a:lnTo>
                    <a:lnTo>
                      <a:pt x="138" y="117"/>
                    </a:lnTo>
                    <a:lnTo>
                      <a:pt x="141" y="112"/>
                    </a:lnTo>
                    <a:lnTo>
                      <a:pt x="145" y="105"/>
                    </a:lnTo>
                    <a:lnTo>
                      <a:pt x="148" y="98"/>
                    </a:lnTo>
                    <a:lnTo>
                      <a:pt x="149" y="90"/>
                    </a:lnTo>
                    <a:lnTo>
                      <a:pt x="150" y="83"/>
                    </a:lnTo>
                    <a:lnTo>
                      <a:pt x="151" y="75"/>
                    </a:lnTo>
                    <a:lnTo>
                      <a:pt x="150" y="68"/>
                    </a:lnTo>
                    <a:lnTo>
                      <a:pt x="149" y="60"/>
                    </a:lnTo>
                    <a:lnTo>
                      <a:pt x="148" y="53"/>
                    </a:lnTo>
                    <a:lnTo>
                      <a:pt x="145" y="46"/>
                    </a:lnTo>
                    <a:lnTo>
                      <a:pt x="141" y="40"/>
                    </a:lnTo>
                    <a:lnTo>
                      <a:pt x="138" y="34"/>
                    </a:lnTo>
                    <a:lnTo>
                      <a:pt x="134" y="28"/>
                    </a:lnTo>
                    <a:lnTo>
                      <a:pt x="129" y="23"/>
                    </a:lnTo>
                    <a:lnTo>
                      <a:pt x="123" y="18"/>
                    </a:lnTo>
                    <a:lnTo>
                      <a:pt x="118" y="13"/>
                    </a:lnTo>
                    <a:lnTo>
                      <a:pt x="112" y="9"/>
                    </a:lnTo>
                    <a:lnTo>
                      <a:pt x="105" y="6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4" y="0"/>
                    </a:lnTo>
                    <a:lnTo>
                      <a:pt x="76" y="0"/>
                    </a:lnTo>
                    <a:lnTo>
                      <a:pt x="68" y="0"/>
                    </a:lnTo>
                    <a:lnTo>
                      <a:pt x="61" y="2"/>
                    </a:lnTo>
                    <a:lnTo>
                      <a:pt x="54" y="4"/>
                    </a:lnTo>
                    <a:lnTo>
                      <a:pt x="46" y="6"/>
                    </a:lnTo>
                    <a:lnTo>
                      <a:pt x="40" y="9"/>
                    </a:lnTo>
                    <a:lnTo>
                      <a:pt x="33" y="13"/>
                    </a:lnTo>
                    <a:lnTo>
                      <a:pt x="28" y="18"/>
                    </a:lnTo>
                    <a:lnTo>
                      <a:pt x="23" y="23"/>
                    </a:lnTo>
                    <a:lnTo>
                      <a:pt x="18" y="28"/>
                    </a:lnTo>
                    <a:lnTo>
                      <a:pt x="13" y="34"/>
                    </a:lnTo>
                    <a:lnTo>
                      <a:pt x="10" y="40"/>
                    </a:lnTo>
                    <a:lnTo>
                      <a:pt x="7" y="46"/>
                    </a:lnTo>
                    <a:lnTo>
                      <a:pt x="5" y="53"/>
                    </a:lnTo>
                    <a:lnTo>
                      <a:pt x="2" y="60"/>
                    </a:lnTo>
                    <a:lnTo>
                      <a:pt x="1" y="68"/>
                    </a:lnTo>
                    <a:lnTo>
                      <a:pt x="0" y="75"/>
                    </a:lnTo>
                    <a:lnTo>
                      <a:pt x="1" y="83"/>
                    </a:lnTo>
                    <a:lnTo>
                      <a:pt x="2" y="90"/>
                    </a:lnTo>
                    <a:lnTo>
                      <a:pt x="5" y="98"/>
                    </a:lnTo>
                    <a:lnTo>
                      <a:pt x="7" y="105"/>
                    </a:lnTo>
                    <a:lnTo>
                      <a:pt x="10" y="112"/>
                    </a:lnTo>
                    <a:lnTo>
                      <a:pt x="13" y="117"/>
                    </a:lnTo>
                    <a:lnTo>
                      <a:pt x="18" y="124"/>
                    </a:lnTo>
                    <a:lnTo>
                      <a:pt x="23" y="129"/>
                    </a:lnTo>
                    <a:lnTo>
                      <a:pt x="28" y="133"/>
                    </a:lnTo>
                    <a:lnTo>
                      <a:pt x="33" y="137"/>
                    </a:lnTo>
                    <a:lnTo>
                      <a:pt x="40" y="142"/>
                    </a:lnTo>
                    <a:lnTo>
                      <a:pt x="46" y="145"/>
                    </a:lnTo>
                    <a:lnTo>
                      <a:pt x="54" y="147"/>
                    </a:lnTo>
                    <a:lnTo>
                      <a:pt x="61" y="149"/>
                    </a:lnTo>
                    <a:lnTo>
                      <a:pt x="68" y="150"/>
                    </a:lnTo>
                    <a:lnTo>
                      <a:pt x="76" y="1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06">
                <a:extLst>
                  <a:ext uri="{FF2B5EF4-FFF2-40B4-BE49-F238E27FC236}">
                    <a16:creationId xmlns:a16="http://schemas.microsoft.com/office/drawing/2014/main" id="{6918F1E6-9F19-4C40-850E-C5047FDB09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18288" y="2041526"/>
                <a:ext cx="109538" cy="177800"/>
              </a:xfrm>
              <a:custGeom>
                <a:avLst/>
                <a:gdLst>
                  <a:gd name="T0" fmla="*/ 181 w 346"/>
                  <a:gd name="T1" fmla="*/ 441 h 561"/>
                  <a:gd name="T2" fmla="*/ 75 w 346"/>
                  <a:gd name="T3" fmla="*/ 323 h 561"/>
                  <a:gd name="T4" fmla="*/ 108 w 346"/>
                  <a:gd name="T5" fmla="*/ 345 h 561"/>
                  <a:gd name="T6" fmla="*/ 149 w 346"/>
                  <a:gd name="T7" fmla="*/ 368 h 561"/>
                  <a:gd name="T8" fmla="*/ 197 w 346"/>
                  <a:gd name="T9" fmla="*/ 368 h 561"/>
                  <a:gd name="T10" fmla="*/ 239 w 346"/>
                  <a:gd name="T11" fmla="*/ 345 h 561"/>
                  <a:gd name="T12" fmla="*/ 255 w 346"/>
                  <a:gd name="T13" fmla="*/ 326 h 561"/>
                  <a:gd name="T14" fmla="*/ 279 w 346"/>
                  <a:gd name="T15" fmla="*/ 321 h 561"/>
                  <a:gd name="T16" fmla="*/ 46 w 346"/>
                  <a:gd name="T17" fmla="*/ 191 h 561"/>
                  <a:gd name="T18" fmla="*/ 39 w 346"/>
                  <a:gd name="T19" fmla="*/ 169 h 561"/>
                  <a:gd name="T20" fmla="*/ 30 w 346"/>
                  <a:gd name="T21" fmla="*/ 135 h 561"/>
                  <a:gd name="T22" fmla="*/ 44 w 346"/>
                  <a:gd name="T23" fmla="*/ 101 h 561"/>
                  <a:gd name="T24" fmla="*/ 73 w 346"/>
                  <a:gd name="T25" fmla="*/ 82 h 561"/>
                  <a:gd name="T26" fmla="*/ 105 w 346"/>
                  <a:gd name="T27" fmla="*/ 79 h 561"/>
                  <a:gd name="T28" fmla="*/ 121 w 346"/>
                  <a:gd name="T29" fmla="*/ 61 h 561"/>
                  <a:gd name="T30" fmla="*/ 147 w 346"/>
                  <a:gd name="T31" fmla="*/ 37 h 561"/>
                  <a:gd name="T32" fmla="*/ 182 w 346"/>
                  <a:gd name="T33" fmla="*/ 31 h 561"/>
                  <a:gd name="T34" fmla="*/ 214 w 346"/>
                  <a:gd name="T35" fmla="*/ 47 h 561"/>
                  <a:gd name="T36" fmla="*/ 233 w 346"/>
                  <a:gd name="T37" fmla="*/ 74 h 561"/>
                  <a:gd name="T38" fmla="*/ 255 w 346"/>
                  <a:gd name="T39" fmla="*/ 78 h 561"/>
                  <a:gd name="T40" fmla="*/ 289 w 346"/>
                  <a:gd name="T41" fmla="*/ 89 h 561"/>
                  <a:gd name="T42" fmla="*/ 312 w 346"/>
                  <a:gd name="T43" fmla="*/ 117 h 561"/>
                  <a:gd name="T44" fmla="*/ 315 w 346"/>
                  <a:gd name="T45" fmla="*/ 152 h 561"/>
                  <a:gd name="T46" fmla="*/ 300 w 346"/>
                  <a:gd name="T47" fmla="*/ 182 h 561"/>
                  <a:gd name="T48" fmla="*/ 307 w 346"/>
                  <a:gd name="T49" fmla="*/ 204 h 561"/>
                  <a:gd name="T50" fmla="*/ 316 w 346"/>
                  <a:gd name="T51" fmla="*/ 238 h 561"/>
                  <a:gd name="T52" fmla="*/ 303 w 346"/>
                  <a:gd name="T53" fmla="*/ 272 h 561"/>
                  <a:gd name="T54" fmla="*/ 273 w 346"/>
                  <a:gd name="T55" fmla="*/ 292 h 561"/>
                  <a:gd name="T56" fmla="*/ 241 w 346"/>
                  <a:gd name="T57" fmla="*/ 295 h 561"/>
                  <a:gd name="T58" fmla="*/ 226 w 346"/>
                  <a:gd name="T59" fmla="*/ 311 h 561"/>
                  <a:gd name="T60" fmla="*/ 199 w 346"/>
                  <a:gd name="T61" fmla="*/ 335 h 561"/>
                  <a:gd name="T62" fmla="*/ 164 w 346"/>
                  <a:gd name="T63" fmla="*/ 341 h 561"/>
                  <a:gd name="T64" fmla="*/ 132 w 346"/>
                  <a:gd name="T65" fmla="*/ 326 h 561"/>
                  <a:gd name="T66" fmla="*/ 115 w 346"/>
                  <a:gd name="T67" fmla="*/ 299 h 561"/>
                  <a:gd name="T68" fmla="*/ 102 w 346"/>
                  <a:gd name="T69" fmla="*/ 293 h 561"/>
                  <a:gd name="T70" fmla="*/ 73 w 346"/>
                  <a:gd name="T71" fmla="*/ 292 h 561"/>
                  <a:gd name="T72" fmla="*/ 44 w 346"/>
                  <a:gd name="T73" fmla="*/ 272 h 561"/>
                  <a:gd name="T74" fmla="*/ 30 w 346"/>
                  <a:gd name="T75" fmla="*/ 238 h 561"/>
                  <a:gd name="T76" fmla="*/ 39 w 346"/>
                  <a:gd name="T77" fmla="*/ 204 h 561"/>
                  <a:gd name="T78" fmla="*/ 343 w 346"/>
                  <a:gd name="T79" fmla="*/ 164 h 561"/>
                  <a:gd name="T80" fmla="*/ 343 w 346"/>
                  <a:gd name="T81" fmla="*/ 117 h 561"/>
                  <a:gd name="T82" fmla="*/ 319 w 346"/>
                  <a:gd name="T83" fmla="*/ 74 h 561"/>
                  <a:gd name="T84" fmla="*/ 278 w 346"/>
                  <a:gd name="T85" fmla="*/ 52 h 561"/>
                  <a:gd name="T86" fmla="*/ 239 w 346"/>
                  <a:gd name="T87" fmla="*/ 29 h 561"/>
                  <a:gd name="T88" fmla="*/ 198 w 346"/>
                  <a:gd name="T89" fmla="*/ 5 h 561"/>
                  <a:gd name="T90" fmla="*/ 149 w 346"/>
                  <a:gd name="T91" fmla="*/ 5 h 561"/>
                  <a:gd name="T92" fmla="*/ 108 w 346"/>
                  <a:gd name="T93" fmla="*/ 29 h 561"/>
                  <a:gd name="T94" fmla="*/ 69 w 346"/>
                  <a:gd name="T95" fmla="*/ 52 h 561"/>
                  <a:gd name="T96" fmla="*/ 27 w 346"/>
                  <a:gd name="T97" fmla="*/ 75 h 561"/>
                  <a:gd name="T98" fmla="*/ 4 w 346"/>
                  <a:gd name="T99" fmla="*/ 117 h 561"/>
                  <a:gd name="T100" fmla="*/ 5 w 346"/>
                  <a:gd name="T101" fmla="*/ 164 h 561"/>
                  <a:gd name="T102" fmla="*/ 5 w 346"/>
                  <a:gd name="T103" fmla="*/ 209 h 561"/>
                  <a:gd name="T104" fmla="*/ 4 w 346"/>
                  <a:gd name="T105" fmla="*/ 257 h 561"/>
                  <a:gd name="T106" fmla="*/ 27 w 346"/>
                  <a:gd name="T107" fmla="*/ 298 h 561"/>
                  <a:gd name="T108" fmla="*/ 46 w 346"/>
                  <a:gd name="T109" fmla="*/ 550 h 561"/>
                  <a:gd name="T110" fmla="*/ 58 w 346"/>
                  <a:gd name="T111" fmla="*/ 561 h 561"/>
                  <a:gd name="T112" fmla="*/ 181 w 346"/>
                  <a:gd name="T113" fmla="*/ 475 h 561"/>
                  <a:gd name="T114" fmla="*/ 299 w 346"/>
                  <a:gd name="T115" fmla="*/ 561 h 561"/>
                  <a:gd name="T116" fmla="*/ 311 w 346"/>
                  <a:gd name="T117" fmla="*/ 558 h 561"/>
                  <a:gd name="T118" fmla="*/ 316 w 346"/>
                  <a:gd name="T119" fmla="*/ 301 h 561"/>
                  <a:gd name="T120" fmla="*/ 343 w 346"/>
                  <a:gd name="T121" fmla="*/ 257 h 561"/>
                  <a:gd name="T122" fmla="*/ 343 w 346"/>
                  <a:gd name="T123" fmla="*/ 209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46" h="561">
                    <a:moveTo>
                      <a:pt x="286" y="516"/>
                    </a:moveTo>
                    <a:lnTo>
                      <a:pt x="190" y="443"/>
                    </a:lnTo>
                    <a:lnTo>
                      <a:pt x="185" y="442"/>
                    </a:lnTo>
                    <a:lnTo>
                      <a:pt x="181" y="441"/>
                    </a:lnTo>
                    <a:lnTo>
                      <a:pt x="176" y="442"/>
                    </a:lnTo>
                    <a:lnTo>
                      <a:pt x="172" y="443"/>
                    </a:lnTo>
                    <a:lnTo>
                      <a:pt x="75" y="516"/>
                    </a:lnTo>
                    <a:lnTo>
                      <a:pt x="75" y="323"/>
                    </a:lnTo>
                    <a:lnTo>
                      <a:pt x="85" y="325"/>
                    </a:lnTo>
                    <a:lnTo>
                      <a:pt x="93" y="326"/>
                    </a:lnTo>
                    <a:lnTo>
                      <a:pt x="100" y="335"/>
                    </a:lnTo>
                    <a:lnTo>
                      <a:pt x="108" y="345"/>
                    </a:lnTo>
                    <a:lnTo>
                      <a:pt x="117" y="352"/>
                    </a:lnTo>
                    <a:lnTo>
                      <a:pt x="127" y="359"/>
                    </a:lnTo>
                    <a:lnTo>
                      <a:pt x="137" y="364"/>
                    </a:lnTo>
                    <a:lnTo>
                      <a:pt x="149" y="368"/>
                    </a:lnTo>
                    <a:lnTo>
                      <a:pt x="161" y="371"/>
                    </a:lnTo>
                    <a:lnTo>
                      <a:pt x="174" y="372"/>
                    </a:lnTo>
                    <a:lnTo>
                      <a:pt x="185" y="371"/>
                    </a:lnTo>
                    <a:lnTo>
                      <a:pt x="197" y="368"/>
                    </a:lnTo>
                    <a:lnTo>
                      <a:pt x="209" y="364"/>
                    </a:lnTo>
                    <a:lnTo>
                      <a:pt x="220" y="359"/>
                    </a:lnTo>
                    <a:lnTo>
                      <a:pt x="229" y="352"/>
                    </a:lnTo>
                    <a:lnTo>
                      <a:pt x="239" y="345"/>
                    </a:lnTo>
                    <a:lnTo>
                      <a:pt x="246" y="335"/>
                    </a:lnTo>
                    <a:lnTo>
                      <a:pt x="253" y="326"/>
                    </a:lnTo>
                    <a:lnTo>
                      <a:pt x="254" y="326"/>
                    </a:lnTo>
                    <a:lnTo>
                      <a:pt x="255" y="326"/>
                    </a:lnTo>
                    <a:lnTo>
                      <a:pt x="255" y="326"/>
                    </a:lnTo>
                    <a:lnTo>
                      <a:pt x="264" y="325"/>
                    </a:lnTo>
                    <a:lnTo>
                      <a:pt x="271" y="323"/>
                    </a:lnTo>
                    <a:lnTo>
                      <a:pt x="279" y="321"/>
                    </a:lnTo>
                    <a:lnTo>
                      <a:pt x="286" y="319"/>
                    </a:lnTo>
                    <a:lnTo>
                      <a:pt x="286" y="516"/>
                    </a:lnTo>
                    <a:close/>
                    <a:moveTo>
                      <a:pt x="44" y="196"/>
                    </a:moveTo>
                    <a:lnTo>
                      <a:pt x="46" y="191"/>
                    </a:lnTo>
                    <a:lnTo>
                      <a:pt x="47" y="186"/>
                    </a:lnTo>
                    <a:lnTo>
                      <a:pt x="46" y="182"/>
                    </a:lnTo>
                    <a:lnTo>
                      <a:pt x="44" y="178"/>
                    </a:lnTo>
                    <a:lnTo>
                      <a:pt x="39" y="169"/>
                    </a:lnTo>
                    <a:lnTo>
                      <a:pt x="35" y="162"/>
                    </a:lnTo>
                    <a:lnTo>
                      <a:pt x="32" y="152"/>
                    </a:lnTo>
                    <a:lnTo>
                      <a:pt x="30" y="144"/>
                    </a:lnTo>
                    <a:lnTo>
                      <a:pt x="30" y="135"/>
                    </a:lnTo>
                    <a:lnTo>
                      <a:pt x="32" y="127"/>
                    </a:lnTo>
                    <a:lnTo>
                      <a:pt x="35" y="117"/>
                    </a:lnTo>
                    <a:lnTo>
                      <a:pt x="39" y="108"/>
                    </a:lnTo>
                    <a:lnTo>
                      <a:pt x="44" y="101"/>
                    </a:lnTo>
                    <a:lnTo>
                      <a:pt x="50" y="94"/>
                    </a:lnTo>
                    <a:lnTo>
                      <a:pt x="57" y="89"/>
                    </a:lnTo>
                    <a:lnTo>
                      <a:pt x="65" y="85"/>
                    </a:lnTo>
                    <a:lnTo>
                      <a:pt x="73" y="82"/>
                    </a:lnTo>
                    <a:lnTo>
                      <a:pt x="82" y="79"/>
                    </a:lnTo>
                    <a:lnTo>
                      <a:pt x="91" y="78"/>
                    </a:lnTo>
                    <a:lnTo>
                      <a:pt x="101" y="78"/>
                    </a:lnTo>
                    <a:lnTo>
                      <a:pt x="105" y="79"/>
                    </a:lnTo>
                    <a:lnTo>
                      <a:pt x="111" y="77"/>
                    </a:lnTo>
                    <a:lnTo>
                      <a:pt x="114" y="74"/>
                    </a:lnTo>
                    <a:lnTo>
                      <a:pt x="117" y="70"/>
                    </a:lnTo>
                    <a:lnTo>
                      <a:pt x="121" y="61"/>
                    </a:lnTo>
                    <a:lnTo>
                      <a:pt x="126" y="54"/>
                    </a:lnTo>
                    <a:lnTo>
                      <a:pt x="132" y="47"/>
                    </a:lnTo>
                    <a:lnTo>
                      <a:pt x="139" y="41"/>
                    </a:lnTo>
                    <a:lnTo>
                      <a:pt x="147" y="37"/>
                    </a:lnTo>
                    <a:lnTo>
                      <a:pt x="156" y="33"/>
                    </a:lnTo>
                    <a:lnTo>
                      <a:pt x="164" y="31"/>
                    </a:lnTo>
                    <a:lnTo>
                      <a:pt x="174" y="30"/>
                    </a:lnTo>
                    <a:lnTo>
                      <a:pt x="182" y="31"/>
                    </a:lnTo>
                    <a:lnTo>
                      <a:pt x="192" y="33"/>
                    </a:lnTo>
                    <a:lnTo>
                      <a:pt x="199" y="37"/>
                    </a:lnTo>
                    <a:lnTo>
                      <a:pt x="208" y="41"/>
                    </a:lnTo>
                    <a:lnTo>
                      <a:pt x="214" y="47"/>
                    </a:lnTo>
                    <a:lnTo>
                      <a:pt x="221" y="54"/>
                    </a:lnTo>
                    <a:lnTo>
                      <a:pt x="226" y="61"/>
                    </a:lnTo>
                    <a:lnTo>
                      <a:pt x="229" y="70"/>
                    </a:lnTo>
                    <a:lnTo>
                      <a:pt x="233" y="74"/>
                    </a:lnTo>
                    <a:lnTo>
                      <a:pt x="236" y="77"/>
                    </a:lnTo>
                    <a:lnTo>
                      <a:pt x="241" y="79"/>
                    </a:lnTo>
                    <a:lnTo>
                      <a:pt x="246" y="78"/>
                    </a:lnTo>
                    <a:lnTo>
                      <a:pt x="255" y="78"/>
                    </a:lnTo>
                    <a:lnTo>
                      <a:pt x="265" y="79"/>
                    </a:lnTo>
                    <a:lnTo>
                      <a:pt x="273" y="82"/>
                    </a:lnTo>
                    <a:lnTo>
                      <a:pt x="282" y="85"/>
                    </a:lnTo>
                    <a:lnTo>
                      <a:pt x="289" y="89"/>
                    </a:lnTo>
                    <a:lnTo>
                      <a:pt x="297" y="94"/>
                    </a:lnTo>
                    <a:lnTo>
                      <a:pt x="303" y="101"/>
                    </a:lnTo>
                    <a:lnTo>
                      <a:pt x="307" y="108"/>
                    </a:lnTo>
                    <a:lnTo>
                      <a:pt x="312" y="117"/>
                    </a:lnTo>
                    <a:lnTo>
                      <a:pt x="315" y="127"/>
                    </a:lnTo>
                    <a:lnTo>
                      <a:pt x="316" y="135"/>
                    </a:lnTo>
                    <a:lnTo>
                      <a:pt x="316" y="144"/>
                    </a:lnTo>
                    <a:lnTo>
                      <a:pt x="315" y="152"/>
                    </a:lnTo>
                    <a:lnTo>
                      <a:pt x="312" y="162"/>
                    </a:lnTo>
                    <a:lnTo>
                      <a:pt x="307" y="169"/>
                    </a:lnTo>
                    <a:lnTo>
                      <a:pt x="302" y="178"/>
                    </a:lnTo>
                    <a:lnTo>
                      <a:pt x="300" y="182"/>
                    </a:lnTo>
                    <a:lnTo>
                      <a:pt x="299" y="186"/>
                    </a:lnTo>
                    <a:lnTo>
                      <a:pt x="300" y="191"/>
                    </a:lnTo>
                    <a:lnTo>
                      <a:pt x="302" y="196"/>
                    </a:lnTo>
                    <a:lnTo>
                      <a:pt x="307" y="204"/>
                    </a:lnTo>
                    <a:lnTo>
                      <a:pt x="312" y="212"/>
                    </a:lnTo>
                    <a:lnTo>
                      <a:pt x="315" y="221"/>
                    </a:lnTo>
                    <a:lnTo>
                      <a:pt x="316" y="229"/>
                    </a:lnTo>
                    <a:lnTo>
                      <a:pt x="316" y="238"/>
                    </a:lnTo>
                    <a:lnTo>
                      <a:pt x="315" y="247"/>
                    </a:lnTo>
                    <a:lnTo>
                      <a:pt x="312" y="256"/>
                    </a:lnTo>
                    <a:lnTo>
                      <a:pt x="307" y="265"/>
                    </a:lnTo>
                    <a:lnTo>
                      <a:pt x="303" y="272"/>
                    </a:lnTo>
                    <a:lnTo>
                      <a:pt x="297" y="278"/>
                    </a:lnTo>
                    <a:lnTo>
                      <a:pt x="289" y="285"/>
                    </a:lnTo>
                    <a:lnTo>
                      <a:pt x="282" y="289"/>
                    </a:lnTo>
                    <a:lnTo>
                      <a:pt x="273" y="292"/>
                    </a:lnTo>
                    <a:lnTo>
                      <a:pt x="265" y="293"/>
                    </a:lnTo>
                    <a:lnTo>
                      <a:pt x="255" y="295"/>
                    </a:lnTo>
                    <a:lnTo>
                      <a:pt x="246" y="293"/>
                    </a:lnTo>
                    <a:lnTo>
                      <a:pt x="241" y="295"/>
                    </a:lnTo>
                    <a:lnTo>
                      <a:pt x="236" y="296"/>
                    </a:lnTo>
                    <a:lnTo>
                      <a:pt x="233" y="299"/>
                    </a:lnTo>
                    <a:lnTo>
                      <a:pt x="229" y="302"/>
                    </a:lnTo>
                    <a:lnTo>
                      <a:pt x="226" y="311"/>
                    </a:lnTo>
                    <a:lnTo>
                      <a:pt x="221" y="319"/>
                    </a:lnTo>
                    <a:lnTo>
                      <a:pt x="214" y="326"/>
                    </a:lnTo>
                    <a:lnTo>
                      <a:pt x="208" y="331"/>
                    </a:lnTo>
                    <a:lnTo>
                      <a:pt x="199" y="335"/>
                    </a:lnTo>
                    <a:lnTo>
                      <a:pt x="192" y="338"/>
                    </a:lnTo>
                    <a:lnTo>
                      <a:pt x="182" y="341"/>
                    </a:lnTo>
                    <a:lnTo>
                      <a:pt x="174" y="342"/>
                    </a:lnTo>
                    <a:lnTo>
                      <a:pt x="164" y="341"/>
                    </a:lnTo>
                    <a:lnTo>
                      <a:pt x="156" y="338"/>
                    </a:lnTo>
                    <a:lnTo>
                      <a:pt x="147" y="335"/>
                    </a:lnTo>
                    <a:lnTo>
                      <a:pt x="139" y="331"/>
                    </a:lnTo>
                    <a:lnTo>
                      <a:pt x="132" y="326"/>
                    </a:lnTo>
                    <a:lnTo>
                      <a:pt x="126" y="319"/>
                    </a:lnTo>
                    <a:lnTo>
                      <a:pt x="121" y="311"/>
                    </a:lnTo>
                    <a:lnTo>
                      <a:pt x="117" y="302"/>
                    </a:lnTo>
                    <a:lnTo>
                      <a:pt x="115" y="299"/>
                    </a:lnTo>
                    <a:lnTo>
                      <a:pt x="112" y="297"/>
                    </a:lnTo>
                    <a:lnTo>
                      <a:pt x="107" y="295"/>
                    </a:lnTo>
                    <a:lnTo>
                      <a:pt x="103" y="293"/>
                    </a:lnTo>
                    <a:lnTo>
                      <a:pt x="102" y="293"/>
                    </a:lnTo>
                    <a:lnTo>
                      <a:pt x="101" y="293"/>
                    </a:lnTo>
                    <a:lnTo>
                      <a:pt x="91" y="295"/>
                    </a:lnTo>
                    <a:lnTo>
                      <a:pt x="82" y="293"/>
                    </a:lnTo>
                    <a:lnTo>
                      <a:pt x="73" y="292"/>
                    </a:lnTo>
                    <a:lnTo>
                      <a:pt x="65" y="289"/>
                    </a:lnTo>
                    <a:lnTo>
                      <a:pt x="57" y="285"/>
                    </a:lnTo>
                    <a:lnTo>
                      <a:pt x="50" y="278"/>
                    </a:lnTo>
                    <a:lnTo>
                      <a:pt x="44" y="272"/>
                    </a:lnTo>
                    <a:lnTo>
                      <a:pt x="39" y="265"/>
                    </a:lnTo>
                    <a:lnTo>
                      <a:pt x="35" y="256"/>
                    </a:lnTo>
                    <a:lnTo>
                      <a:pt x="32" y="247"/>
                    </a:lnTo>
                    <a:lnTo>
                      <a:pt x="30" y="238"/>
                    </a:lnTo>
                    <a:lnTo>
                      <a:pt x="30" y="229"/>
                    </a:lnTo>
                    <a:lnTo>
                      <a:pt x="32" y="221"/>
                    </a:lnTo>
                    <a:lnTo>
                      <a:pt x="35" y="212"/>
                    </a:lnTo>
                    <a:lnTo>
                      <a:pt x="39" y="204"/>
                    </a:lnTo>
                    <a:lnTo>
                      <a:pt x="44" y="196"/>
                    </a:lnTo>
                    <a:close/>
                    <a:moveTo>
                      <a:pt x="332" y="186"/>
                    </a:moveTo>
                    <a:lnTo>
                      <a:pt x="338" y="176"/>
                    </a:lnTo>
                    <a:lnTo>
                      <a:pt x="343" y="164"/>
                    </a:lnTo>
                    <a:lnTo>
                      <a:pt x="345" y="153"/>
                    </a:lnTo>
                    <a:lnTo>
                      <a:pt x="346" y="140"/>
                    </a:lnTo>
                    <a:lnTo>
                      <a:pt x="346" y="129"/>
                    </a:lnTo>
                    <a:lnTo>
                      <a:pt x="343" y="117"/>
                    </a:lnTo>
                    <a:lnTo>
                      <a:pt x="340" y="105"/>
                    </a:lnTo>
                    <a:lnTo>
                      <a:pt x="334" y="93"/>
                    </a:lnTo>
                    <a:lnTo>
                      <a:pt x="327" y="84"/>
                    </a:lnTo>
                    <a:lnTo>
                      <a:pt x="319" y="74"/>
                    </a:lnTo>
                    <a:lnTo>
                      <a:pt x="310" y="67"/>
                    </a:lnTo>
                    <a:lnTo>
                      <a:pt x="300" y="60"/>
                    </a:lnTo>
                    <a:lnTo>
                      <a:pt x="288" y="55"/>
                    </a:lnTo>
                    <a:lnTo>
                      <a:pt x="278" y="52"/>
                    </a:lnTo>
                    <a:lnTo>
                      <a:pt x="266" y="49"/>
                    </a:lnTo>
                    <a:lnTo>
                      <a:pt x="253" y="48"/>
                    </a:lnTo>
                    <a:lnTo>
                      <a:pt x="246" y="39"/>
                    </a:lnTo>
                    <a:lnTo>
                      <a:pt x="239" y="29"/>
                    </a:lnTo>
                    <a:lnTo>
                      <a:pt x="229" y="21"/>
                    </a:lnTo>
                    <a:lnTo>
                      <a:pt x="220" y="14"/>
                    </a:lnTo>
                    <a:lnTo>
                      <a:pt x="209" y="9"/>
                    </a:lnTo>
                    <a:lnTo>
                      <a:pt x="198" y="5"/>
                    </a:lnTo>
                    <a:lnTo>
                      <a:pt x="185" y="1"/>
                    </a:lnTo>
                    <a:lnTo>
                      <a:pt x="174" y="0"/>
                    </a:lnTo>
                    <a:lnTo>
                      <a:pt x="161" y="1"/>
                    </a:lnTo>
                    <a:lnTo>
                      <a:pt x="149" y="5"/>
                    </a:lnTo>
                    <a:lnTo>
                      <a:pt x="137" y="9"/>
                    </a:lnTo>
                    <a:lnTo>
                      <a:pt x="127" y="14"/>
                    </a:lnTo>
                    <a:lnTo>
                      <a:pt x="117" y="21"/>
                    </a:lnTo>
                    <a:lnTo>
                      <a:pt x="108" y="29"/>
                    </a:lnTo>
                    <a:lnTo>
                      <a:pt x="100" y="39"/>
                    </a:lnTo>
                    <a:lnTo>
                      <a:pt x="93" y="48"/>
                    </a:lnTo>
                    <a:lnTo>
                      <a:pt x="82" y="49"/>
                    </a:lnTo>
                    <a:lnTo>
                      <a:pt x="69" y="52"/>
                    </a:lnTo>
                    <a:lnTo>
                      <a:pt x="58" y="56"/>
                    </a:lnTo>
                    <a:lnTo>
                      <a:pt x="46" y="60"/>
                    </a:lnTo>
                    <a:lnTo>
                      <a:pt x="37" y="67"/>
                    </a:lnTo>
                    <a:lnTo>
                      <a:pt x="27" y="75"/>
                    </a:lnTo>
                    <a:lnTo>
                      <a:pt x="20" y="84"/>
                    </a:lnTo>
                    <a:lnTo>
                      <a:pt x="13" y="93"/>
                    </a:lnTo>
                    <a:lnTo>
                      <a:pt x="7" y="105"/>
                    </a:lnTo>
                    <a:lnTo>
                      <a:pt x="4" y="117"/>
                    </a:lnTo>
                    <a:lnTo>
                      <a:pt x="1" y="129"/>
                    </a:lnTo>
                    <a:lnTo>
                      <a:pt x="0" y="140"/>
                    </a:lnTo>
                    <a:lnTo>
                      <a:pt x="1" y="153"/>
                    </a:lnTo>
                    <a:lnTo>
                      <a:pt x="5" y="164"/>
                    </a:lnTo>
                    <a:lnTo>
                      <a:pt x="8" y="176"/>
                    </a:lnTo>
                    <a:lnTo>
                      <a:pt x="14" y="186"/>
                    </a:lnTo>
                    <a:lnTo>
                      <a:pt x="8" y="198"/>
                    </a:lnTo>
                    <a:lnTo>
                      <a:pt x="5" y="209"/>
                    </a:lnTo>
                    <a:lnTo>
                      <a:pt x="1" y="221"/>
                    </a:lnTo>
                    <a:lnTo>
                      <a:pt x="0" y="232"/>
                    </a:lnTo>
                    <a:lnTo>
                      <a:pt x="1" y="245"/>
                    </a:lnTo>
                    <a:lnTo>
                      <a:pt x="4" y="257"/>
                    </a:lnTo>
                    <a:lnTo>
                      <a:pt x="7" y="269"/>
                    </a:lnTo>
                    <a:lnTo>
                      <a:pt x="13" y="280"/>
                    </a:lnTo>
                    <a:lnTo>
                      <a:pt x="20" y="289"/>
                    </a:lnTo>
                    <a:lnTo>
                      <a:pt x="27" y="298"/>
                    </a:lnTo>
                    <a:lnTo>
                      <a:pt x="36" y="305"/>
                    </a:lnTo>
                    <a:lnTo>
                      <a:pt x="45" y="312"/>
                    </a:lnTo>
                    <a:lnTo>
                      <a:pt x="45" y="546"/>
                    </a:lnTo>
                    <a:lnTo>
                      <a:pt x="46" y="550"/>
                    </a:lnTo>
                    <a:lnTo>
                      <a:pt x="47" y="555"/>
                    </a:lnTo>
                    <a:lnTo>
                      <a:pt x="51" y="558"/>
                    </a:lnTo>
                    <a:lnTo>
                      <a:pt x="54" y="559"/>
                    </a:lnTo>
                    <a:lnTo>
                      <a:pt x="58" y="561"/>
                    </a:lnTo>
                    <a:lnTo>
                      <a:pt x="62" y="561"/>
                    </a:lnTo>
                    <a:lnTo>
                      <a:pt x="66" y="560"/>
                    </a:lnTo>
                    <a:lnTo>
                      <a:pt x="70" y="558"/>
                    </a:lnTo>
                    <a:lnTo>
                      <a:pt x="181" y="475"/>
                    </a:lnTo>
                    <a:lnTo>
                      <a:pt x="292" y="558"/>
                    </a:lnTo>
                    <a:lnTo>
                      <a:pt x="294" y="560"/>
                    </a:lnTo>
                    <a:lnTo>
                      <a:pt x="297" y="560"/>
                    </a:lnTo>
                    <a:lnTo>
                      <a:pt x="299" y="561"/>
                    </a:lnTo>
                    <a:lnTo>
                      <a:pt x="301" y="561"/>
                    </a:lnTo>
                    <a:lnTo>
                      <a:pt x="304" y="561"/>
                    </a:lnTo>
                    <a:lnTo>
                      <a:pt x="307" y="559"/>
                    </a:lnTo>
                    <a:lnTo>
                      <a:pt x="311" y="558"/>
                    </a:lnTo>
                    <a:lnTo>
                      <a:pt x="314" y="555"/>
                    </a:lnTo>
                    <a:lnTo>
                      <a:pt x="315" y="550"/>
                    </a:lnTo>
                    <a:lnTo>
                      <a:pt x="316" y="546"/>
                    </a:lnTo>
                    <a:lnTo>
                      <a:pt x="316" y="301"/>
                    </a:lnTo>
                    <a:lnTo>
                      <a:pt x="326" y="291"/>
                    </a:lnTo>
                    <a:lnTo>
                      <a:pt x="334" y="280"/>
                    </a:lnTo>
                    <a:lnTo>
                      <a:pt x="340" y="269"/>
                    </a:lnTo>
                    <a:lnTo>
                      <a:pt x="343" y="257"/>
                    </a:lnTo>
                    <a:lnTo>
                      <a:pt x="346" y="245"/>
                    </a:lnTo>
                    <a:lnTo>
                      <a:pt x="346" y="232"/>
                    </a:lnTo>
                    <a:lnTo>
                      <a:pt x="345" y="221"/>
                    </a:lnTo>
                    <a:lnTo>
                      <a:pt x="343" y="209"/>
                    </a:lnTo>
                    <a:lnTo>
                      <a:pt x="338" y="198"/>
                    </a:lnTo>
                    <a:lnTo>
                      <a:pt x="332" y="18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4DD9D154-ADC7-40D6-A41A-DE58A62324C8}"/>
              </a:ext>
            </a:extLst>
          </p:cNvPr>
          <p:cNvGrpSpPr/>
          <p:nvPr/>
        </p:nvGrpSpPr>
        <p:grpSpPr>
          <a:xfrm>
            <a:off x="6482953" y="4760119"/>
            <a:ext cx="5162550" cy="1509712"/>
            <a:chOff x="6482953" y="4760119"/>
            <a:chExt cx="5162550" cy="1509712"/>
          </a:xfrm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153" name="Freeform 5">
              <a:extLst>
                <a:ext uri="{FF2B5EF4-FFF2-40B4-BE49-F238E27FC236}">
                  <a16:creationId xmlns:a16="http://schemas.microsoft.com/office/drawing/2014/main" id="{C8322F1E-F51E-4B14-B6E0-AA4A7B160E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2015" y="4760119"/>
              <a:ext cx="369887" cy="452437"/>
            </a:xfrm>
            <a:custGeom>
              <a:avLst/>
              <a:gdLst>
                <a:gd name="T0" fmla="*/ 96 w 96"/>
                <a:gd name="T1" fmla="*/ 0 h 117"/>
                <a:gd name="T2" fmla="*/ 32 w 96"/>
                <a:gd name="T3" fmla="*/ 0 h 117"/>
                <a:gd name="T4" fmla="*/ 0 w 96"/>
                <a:gd name="T5" fmla="*/ 31 h 117"/>
                <a:gd name="T6" fmla="*/ 0 w 96"/>
                <a:gd name="T7" fmla="*/ 117 h 117"/>
                <a:gd name="T8" fmla="*/ 96 w 96"/>
                <a:gd name="T9" fmla="*/ 117 h 117"/>
                <a:gd name="T10" fmla="*/ 96 w 96"/>
                <a:gd name="T11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" h="117">
                  <a:moveTo>
                    <a:pt x="96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1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96" y="117"/>
                    <a:pt x="96" y="117"/>
                    <a:pt x="96" y="117"/>
                  </a:cubicBezTo>
                  <a:lnTo>
                    <a:pt x="96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6">
              <a:extLst>
                <a:ext uri="{FF2B5EF4-FFF2-40B4-BE49-F238E27FC236}">
                  <a16:creationId xmlns:a16="http://schemas.microsoft.com/office/drawing/2014/main" id="{2B451C28-2DF5-43A0-AC3C-DCE751F90B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0628" y="4988719"/>
              <a:ext cx="4484687" cy="1103312"/>
            </a:xfrm>
            <a:custGeom>
              <a:avLst/>
              <a:gdLst>
                <a:gd name="T0" fmla="*/ 1150 w 1163"/>
                <a:gd name="T1" fmla="*/ 169 h 285"/>
                <a:gd name="T2" fmla="*/ 1089 w 1163"/>
                <a:gd name="T3" fmla="*/ 249 h 285"/>
                <a:gd name="T4" fmla="*/ 1016 w 1163"/>
                <a:gd name="T5" fmla="*/ 285 h 285"/>
                <a:gd name="T6" fmla="*/ 129 w 1163"/>
                <a:gd name="T7" fmla="*/ 285 h 285"/>
                <a:gd name="T8" fmla="*/ 0 w 1163"/>
                <a:gd name="T9" fmla="*/ 156 h 285"/>
                <a:gd name="T10" fmla="*/ 0 w 1163"/>
                <a:gd name="T11" fmla="*/ 0 h 285"/>
                <a:gd name="T12" fmla="*/ 1017 w 1163"/>
                <a:gd name="T13" fmla="*/ 0 h 285"/>
                <a:gd name="T14" fmla="*/ 1089 w 1163"/>
                <a:gd name="T15" fmla="*/ 35 h 285"/>
                <a:gd name="T16" fmla="*/ 1149 w 1163"/>
                <a:gd name="T17" fmla="*/ 112 h 285"/>
                <a:gd name="T18" fmla="*/ 1150 w 1163"/>
                <a:gd name="T19" fmla="*/ 169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3" h="285">
                  <a:moveTo>
                    <a:pt x="1150" y="169"/>
                  </a:moveTo>
                  <a:cubicBezTo>
                    <a:pt x="1089" y="249"/>
                    <a:pt x="1089" y="249"/>
                    <a:pt x="1089" y="249"/>
                  </a:cubicBezTo>
                  <a:cubicBezTo>
                    <a:pt x="1072" y="271"/>
                    <a:pt x="1045" y="285"/>
                    <a:pt x="1016" y="285"/>
                  </a:cubicBezTo>
                  <a:cubicBezTo>
                    <a:pt x="129" y="285"/>
                    <a:pt x="129" y="285"/>
                    <a:pt x="129" y="285"/>
                  </a:cubicBezTo>
                  <a:cubicBezTo>
                    <a:pt x="58" y="285"/>
                    <a:pt x="0" y="227"/>
                    <a:pt x="0" y="1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17" y="0"/>
                    <a:pt x="1017" y="0"/>
                    <a:pt x="1017" y="0"/>
                  </a:cubicBezTo>
                  <a:cubicBezTo>
                    <a:pt x="1045" y="0"/>
                    <a:pt x="1072" y="12"/>
                    <a:pt x="1089" y="35"/>
                  </a:cubicBezTo>
                  <a:cubicBezTo>
                    <a:pt x="1149" y="112"/>
                    <a:pt x="1149" y="112"/>
                    <a:pt x="1149" y="112"/>
                  </a:cubicBezTo>
                  <a:cubicBezTo>
                    <a:pt x="1163" y="129"/>
                    <a:pt x="1163" y="152"/>
                    <a:pt x="1150" y="16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7">
              <a:extLst>
                <a:ext uri="{FF2B5EF4-FFF2-40B4-BE49-F238E27FC236}">
                  <a16:creationId xmlns:a16="http://schemas.microsoft.com/office/drawing/2014/main" id="{77051DCE-9400-42C6-940F-3E3A381C65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2953" y="4760119"/>
              <a:ext cx="1712912" cy="1331912"/>
            </a:xfrm>
            <a:custGeom>
              <a:avLst/>
              <a:gdLst>
                <a:gd name="T0" fmla="*/ 315 w 444"/>
                <a:gd name="T1" fmla="*/ 215 h 344"/>
                <a:gd name="T2" fmla="*/ 315 w 444"/>
                <a:gd name="T3" fmla="*/ 59 h 344"/>
                <a:gd name="T4" fmla="*/ 255 w 444"/>
                <a:gd name="T5" fmla="*/ 0 h 344"/>
                <a:gd name="T6" fmla="*/ 59 w 444"/>
                <a:gd name="T7" fmla="*/ 0 h 344"/>
                <a:gd name="T8" fmla="*/ 0 w 444"/>
                <a:gd name="T9" fmla="*/ 59 h 344"/>
                <a:gd name="T10" fmla="*/ 0 w 444"/>
                <a:gd name="T11" fmla="*/ 215 h 344"/>
                <a:gd name="T12" fmla="*/ 129 w 444"/>
                <a:gd name="T13" fmla="*/ 344 h 344"/>
                <a:gd name="T14" fmla="*/ 444 w 444"/>
                <a:gd name="T15" fmla="*/ 344 h 344"/>
                <a:gd name="T16" fmla="*/ 315 w 444"/>
                <a:gd name="T17" fmla="*/ 215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4" h="344">
                  <a:moveTo>
                    <a:pt x="315" y="215"/>
                  </a:moveTo>
                  <a:cubicBezTo>
                    <a:pt x="315" y="59"/>
                    <a:pt x="315" y="59"/>
                    <a:pt x="315" y="59"/>
                  </a:cubicBezTo>
                  <a:cubicBezTo>
                    <a:pt x="315" y="26"/>
                    <a:pt x="288" y="0"/>
                    <a:pt x="255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6" y="0"/>
                    <a:pt x="0" y="26"/>
                    <a:pt x="0" y="59"/>
                  </a:cubicBezTo>
                  <a:cubicBezTo>
                    <a:pt x="0" y="215"/>
                    <a:pt x="0" y="215"/>
                    <a:pt x="0" y="215"/>
                  </a:cubicBezTo>
                  <a:cubicBezTo>
                    <a:pt x="0" y="286"/>
                    <a:pt x="57" y="344"/>
                    <a:pt x="129" y="344"/>
                  </a:cubicBezTo>
                  <a:cubicBezTo>
                    <a:pt x="444" y="344"/>
                    <a:pt x="444" y="344"/>
                    <a:pt x="444" y="344"/>
                  </a:cubicBezTo>
                  <a:cubicBezTo>
                    <a:pt x="372" y="344"/>
                    <a:pt x="315" y="286"/>
                    <a:pt x="315" y="215"/>
                  </a:cubicBezTo>
                  <a:close/>
                </a:path>
              </a:pathLst>
            </a:custGeom>
            <a:solidFill>
              <a:srgbClr val="280E3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8">
              <a:extLst>
                <a:ext uri="{FF2B5EF4-FFF2-40B4-BE49-F238E27FC236}">
                  <a16:creationId xmlns:a16="http://schemas.microsoft.com/office/drawing/2014/main" id="{7647BEE3-024D-49C9-B6DB-AAEE83E94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7390" y="4988719"/>
              <a:ext cx="601662" cy="1103312"/>
            </a:xfrm>
            <a:custGeom>
              <a:avLst/>
              <a:gdLst>
                <a:gd name="T0" fmla="*/ 156 w 156"/>
                <a:gd name="T1" fmla="*/ 285 h 285"/>
                <a:gd name="T2" fmla="*/ 129 w 156"/>
                <a:gd name="T3" fmla="*/ 285 h 285"/>
                <a:gd name="T4" fmla="*/ 0 w 156"/>
                <a:gd name="T5" fmla="*/ 156 h 285"/>
                <a:gd name="T6" fmla="*/ 0 w 156"/>
                <a:gd name="T7" fmla="*/ 0 h 285"/>
                <a:gd name="T8" fmla="*/ 27 w 156"/>
                <a:gd name="T9" fmla="*/ 0 h 285"/>
                <a:gd name="T10" fmla="*/ 27 w 156"/>
                <a:gd name="T11" fmla="*/ 156 h 285"/>
                <a:gd name="T12" fmla="*/ 156 w 156"/>
                <a:gd name="T13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285">
                  <a:moveTo>
                    <a:pt x="156" y="285"/>
                  </a:moveTo>
                  <a:cubicBezTo>
                    <a:pt x="129" y="285"/>
                    <a:pt x="129" y="285"/>
                    <a:pt x="129" y="285"/>
                  </a:cubicBezTo>
                  <a:cubicBezTo>
                    <a:pt x="57" y="285"/>
                    <a:pt x="0" y="227"/>
                    <a:pt x="0" y="1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156"/>
                    <a:pt x="27" y="156"/>
                    <a:pt x="27" y="156"/>
                  </a:cubicBezTo>
                  <a:cubicBezTo>
                    <a:pt x="27" y="227"/>
                    <a:pt x="85" y="285"/>
                    <a:pt x="156" y="28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9">
              <a:extLst>
                <a:ext uri="{FF2B5EF4-FFF2-40B4-BE49-F238E27FC236}">
                  <a16:creationId xmlns:a16="http://schemas.microsoft.com/office/drawing/2014/main" id="{43B6BB4F-B576-41F7-A42E-F518EED10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1240" y="4760119"/>
              <a:ext cx="2900362" cy="503237"/>
            </a:xfrm>
            <a:custGeom>
              <a:avLst/>
              <a:gdLst>
                <a:gd name="T0" fmla="*/ 52 w 752"/>
                <a:gd name="T1" fmla="*/ 130 h 130"/>
                <a:gd name="T2" fmla="*/ 709 w 752"/>
                <a:gd name="T3" fmla="*/ 130 h 130"/>
                <a:gd name="T4" fmla="*/ 752 w 752"/>
                <a:gd name="T5" fmla="*/ 87 h 130"/>
                <a:gd name="T6" fmla="*/ 752 w 752"/>
                <a:gd name="T7" fmla="*/ 59 h 130"/>
                <a:gd name="T8" fmla="*/ 692 w 752"/>
                <a:gd name="T9" fmla="*/ 0 h 130"/>
                <a:gd name="T10" fmla="*/ 0 w 752"/>
                <a:gd name="T11" fmla="*/ 0 h 130"/>
                <a:gd name="T12" fmla="*/ 20 w 752"/>
                <a:gd name="T13" fmla="*/ 59 h 130"/>
                <a:gd name="T14" fmla="*/ 20 w 752"/>
                <a:gd name="T15" fmla="*/ 98 h 130"/>
                <a:gd name="T16" fmla="*/ 52 w 752"/>
                <a:gd name="T1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2" h="130">
                  <a:moveTo>
                    <a:pt x="52" y="130"/>
                  </a:moveTo>
                  <a:cubicBezTo>
                    <a:pt x="709" y="130"/>
                    <a:pt x="709" y="130"/>
                    <a:pt x="709" y="130"/>
                  </a:cubicBezTo>
                  <a:cubicBezTo>
                    <a:pt x="733" y="130"/>
                    <a:pt x="752" y="111"/>
                    <a:pt x="752" y="87"/>
                  </a:cubicBezTo>
                  <a:cubicBezTo>
                    <a:pt x="752" y="59"/>
                    <a:pt x="752" y="59"/>
                    <a:pt x="752" y="59"/>
                  </a:cubicBezTo>
                  <a:cubicBezTo>
                    <a:pt x="752" y="26"/>
                    <a:pt x="725" y="0"/>
                    <a:pt x="69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16"/>
                    <a:pt x="20" y="37"/>
                    <a:pt x="20" y="59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0" y="116"/>
                    <a:pt x="34" y="130"/>
                    <a:pt x="52" y="130"/>
                  </a:cubicBezTo>
                  <a:close/>
                </a:path>
              </a:pathLst>
            </a:custGeom>
            <a:solidFill>
              <a:srgbClr val="280E3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Oval 10">
              <a:extLst>
                <a:ext uri="{FF2B5EF4-FFF2-40B4-BE49-F238E27FC236}">
                  <a16:creationId xmlns:a16="http://schemas.microsoft.com/office/drawing/2014/main" id="{6AF9263E-EACD-493A-ABC1-793F844BB2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9828" y="5309394"/>
              <a:ext cx="955675" cy="960437"/>
            </a:xfrm>
            <a:prstGeom prst="ellipse">
              <a:avLst/>
            </a:prstGeom>
            <a:solidFill>
              <a:srgbClr val="E46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1">
              <a:extLst>
                <a:ext uri="{FF2B5EF4-FFF2-40B4-BE49-F238E27FC236}">
                  <a16:creationId xmlns:a16="http://schemas.microsoft.com/office/drawing/2014/main" id="{A25DB35B-624F-4907-B3E8-607857B481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67603" y="5247481"/>
              <a:ext cx="747712" cy="844550"/>
            </a:xfrm>
            <a:custGeom>
              <a:avLst/>
              <a:gdLst>
                <a:gd name="T0" fmla="*/ 0 w 194"/>
                <a:gd name="T1" fmla="*/ 123 h 218"/>
                <a:gd name="T2" fmla="*/ 43 w 194"/>
                <a:gd name="T3" fmla="*/ 218 h 218"/>
                <a:gd name="T4" fmla="*/ 47 w 194"/>
                <a:gd name="T5" fmla="*/ 218 h 218"/>
                <a:gd name="T6" fmla="*/ 120 w 194"/>
                <a:gd name="T7" fmla="*/ 182 h 218"/>
                <a:gd name="T8" fmla="*/ 181 w 194"/>
                <a:gd name="T9" fmla="*/ 102 h 218"/>
                <a:gd name="T10" fmla="*/ 180 w 194"/>
                <a:gd name="T11" fmla="*/ 45 h 218"/>
                <a:gd name="T12" fmla="*/ 147 w 194"/>
                <a:gd name="T13" fmla="*/ 2 h 218"/>
                <a:gd name="T14" fmla="*/ 124 w 194"/>
                <a:gd name="T15" fmla="*/ 0 h 218"/>
                <a:gd name="T16" fmla="*/ 0 w 194"/>
                <a:gd name="T17" fmla="*/ 12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4" h="218">
                  <a:moveTo>
                    <a:pt x="0" y="123"/>
                  </a:moveTo>
                  <a:cubicBezTo>
                    <a:pt x="0" y="161"/>
                    <a:pt x="17" y="195"/>
                    <a:pt x="43" y="218"/>
                  </a:cubicBezTo>
                  <a:cubicBezTo>
                    <a:pt x="47" y="218"/>
                    <a:pt x="47" y="218"/>
                    <a:pt x="47" y="218"/>
                  </a:cubicBezTo>
                  <a:cubicBezTo>
                    <a:pt x="76" y="218"/>
                    <a:pt x="103" y="204"/>
                    <a:pt x="120" y="182"/>
                  </a:cubicBezTo>
                  <a:cubicBezTo>
                    <a:pt x="181" y="102"/>
                    <a:pt x="181" y="102"/>
                    <a:pt x="181" y="102"/>
                  </a:cubicBezTo>
                  <a:cubicBezTo>
                    <a:pt x="194" y="85"/>
                    <a:pt x="194" y="62"/>
                    <a:pt x="180" y="45"/>
                  </a:cubicBezTo>
                  <a:cubicBezTo>
                    <a:pt x="147" y="2"/>
                    <a:pt x="147" y="2"/>
                    <a:pt x="147" y="2"/>
                  </a:cubicBezTo>
                  <a:cubicBezTo>
                    <a:pt x="139" y="0"/>
                    <a:pt x="131" y="0"/>
                    <a:pt x="124" y="0"/>
                  </a:cubicBezTo>
                  <a:cubicBezTo>
                    <a:pt x="55" y="0"/>
                    <a:pt x="0" y="55"/>
                    <a:pt x="0" y="1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Oval 12">
              <a:extLst>
                <a:ext uri="{FF2B5EF4-FFF2-40B4-BE49-F238E27FC236}">
                  <a16:creationId xmlns:a16="http://schemas.microsoft.com/office/drawing/2014/main" id="{CE19EF60-3B31-4996-A93D-E795256B5B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9828" y="5309394"/>
              <a:ext cx="955675" cy="960437"/>
            </a:xfrm>
            <a:prstGeom prst="ellipse">
              <a:avLst/>
            </a:prstGeom>
            <a:solidFill>
              <a:srgbClr val="280E3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3">
              <a:extLst>
                <a:ext uri="{FF2B5EF4-FFF2-40B4-BE49-F238E27FC236}">
                  <a16:creationId xmlns:a16="http://schemas.microsoft.com/office/drawing/2014/main" id="{2FD9D25F-DDBD-405E-B80A-FAD159564D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75553" y="5390356"/>
              <a:ext cx="785812" cy="793750"/>
            </a:xfrm>
            <a:custGeom>
              <a:avLst/>
              <a:gdLst>
                <a:gd name="T0" fmla="*/ 102 w 204"/>
                <a:gd name="T1" fmla="*/ 0 h 205"/>
                <a:gd name="T2" fmla="*/ 0 w 204"/>
                <a:gd name="T3" fmla="*/ 103 h 205"/>
                <a:gd name="T4" fmla="*/ 102 w 204"/>
                <a:gd name="T5" fmla="*/ 205 h 205"/>
                <a:gd name="T6" fmla="*/ 204 w 204"/>
                <a:gd name="T7" fmla="*/ 103 h 205"/>
                <a:gd name="T8" fmla="*/ 102 w 204"/>
                <a:gd name="T9" fmla="*/ 0 h 205"/>
                <a:gd name="T10" fmla="*/ 102 w 204"/>
                <a:gd name="T11" fmla="*/ 192 h 205"/>
                <a:gd name="T12" fmla="*/ 13 w 204"/>
                <a:gd name="T13" fmla="*/ 103 h 205"/>
                <a:gd name="T14" fmla="*/ 102 w 204"/>
                <a:gd name="T15" fmla="*/ 14 h 205"/>
                <a:gd name="T16" fmla="*/ 191 w 204"/>
                <a:gd name="T17" fmla="*/ 103 h 205"/>
                <a:gd name="T18" fmla="*/ 102 w 204"/>
                <a:gd name="T19" fmla="*/ 19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4" h="205">
                  <a:moveTo>
                    <a:pt x="102" y="0"/>
                  </a:moveTo>
                  <a:cubicBezTo>
                    <a:pt x="45" y="0"/>
                    <a:pt x="0" y="46"/>
                    <a:pt x="0" y="103"/>
                  </a:cubicBezTo>
                  <a:cubicBezTo>
                    <a:pt x="0" y="159"/>
                    <a:pt x="45" y="205"/>
                    <a:pt x="102" y="205"/>
                  </a:cubicBezTo>
                  <a:cubicBezTo>
                    <a:pt x="159" y="205"/>
                    <a:pt x="204" y="159"/>
                    <a:pt x="204" y="103"/>
                  </a:cubicBezTo>
                  <a:cubicBezTo>
                    <a:pt x="204" y="46"/>
                    <a:pt x="159" y="0"/>
                    <a:pt x="102" y="0"/>
                  </a:cubicBezTo>
                  <a:close/>
                  <a:moveTo>
                    <a:pt x="102" y="192"/>
                  </a:moveTo>
                  <a:cubicBezTo>
                    <a:pt x="53" y="192"/>
                    <a:pt x="13" y="152"/>
                    <a:pt x="13" y="103"/>
                  </a:cubicBezTo>
                  <a:cubicBezTo>
                    <a:pt x="13" y="54"/>
                    <a:pt x="53" y="14"/>
                    <a:pt x="102" y="14"/>
                  </a:cubicBezTo>
                  <a:cubicBezTo>
                    <a:pt x="151" y="14"/>
                    <a:pt x="191" y="54"/>
                    <a:pt x="191" y="103"/>
                  </a:cubicBezTo>
                  <a:cubicBezTo>
                    <a:pt x="191" y="152"/>
                    <a:pt x="151" y="192"/>
                    <a:pt x="102" y="1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02E4847F-34F7-43EA-8D40-036218A6B35C}"/>
                </a:ext>
              </a:extLst>
            </p:cNvPr>
            <p:cNvSpPr txBox="1"/>
            <p:nvPr/>
          </p:nvSpPr>
          <p:spPr>
            <a:xfrm>
              <a:off x="7949127" y="5408816"/>
              <a:ext cx="2572426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rem ipsum dolor sit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et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sectetur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ipiscing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lit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DC030C2B-B4F0-490A-B398-8CD8A0350FB6}"/>
                </a:ext>
              </a:extLst>
            </p:cNvPr>
            <p:cNvSpPr txBox="1"/>
            <p:nvPr/>
          </p:nvSpPr>
          <p:spPr>
            <a:xfrm>
              <a:off x="8315728" y="4862460"/>
              <a:ext cx="2401874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>
                  <a:solidFill>
                    <a:schemeClr val="bg1"/>
                  </a:solidFill>
                </a:rPr>
                <a:t>LOREM IPSUM</a:t>
              </a: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C16905E5-0182-4F2A-86CC-7B8DC33F91CC}"/>
                </a:ext>
              </a:extLst>
            </p:cNvPr>
            <p:cNvSpPr txBox="1"/>
            <p:nvPr/>
          </p:nvSpPr>
          <p:spPr>
            <a:xfrm>
              <a:off x="6691783" y="5016651"/>
              <a:ext cx="824616" cy="73866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4800">
                  <a:solidFill>
                    <a:schemeClr val="bg1"/>
                  </a:solidFill>
                </a:rPr>
                <a:t>03</a:t>
              </a:r>
            </a:p>
          </p:txBody>
        </p: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6BFE9FED-90E8-4624-8507-4C3930132F62}"/>
                </a:ext>
              </a:extLst>
            </p:cNvPr>
            <p:cNvGrpSpPr/>
            <p:nvPr/>
          </p:nvGrpSpPr>
          <p:grpSpPr>
            <a:xfrm>
              <a:off x="11057334" y="5645943"/>
              <a:ext cx="220663" cy="287338"/>
              <a:chOff x="11066463" y="1360488"/>
              <a:chExt cx="220663" cy="287338"/>
            </a:xfrm>
            <a:solidFill>
              <a:schemeClr val="bg1"/>
            </a:solidFill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grpSpPr>
          <p:sp>
            <p:nvSpPr>
              <p:cNvPr id="120" name="Freeform 180">
                <a:extLst>
                  <a:ext uri="{FF2B5EF4-FFF2-40B4-BE49-F238E27FC236}">
                    <a16:creationId xmlns:a16="http://schemas.microsoft.com/office/drawing/2014/main" id="{445ABEE7-25C3-479B-96BF-4E2145F007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66463" y="1360488"/>
                <a:ext cx="220663" cy="287338"/>
              </a:xfrm>
              <a:custGeom>
                <a:avLst/>
                <a:gdLst>
                  <a:gd name="T0" fmla="*/ 30 w 691"/>
                  <a:gd name="T1" fmla="*/ 871 h 901"/>
                  <a:gd name="T2" fmla="*/ 30 w 691"/>
                  <a:gd name="T3" fmla="*/ 30 h 901"/>
                  <a:gd name="T4" fmla="*/ 421 w 691"/>
                  <a:gd name="T5" fmla="*/ 30 h 901"/>
                  <a:gd name="T6" fmla="*/ 421 w 691"/>
                  <a:gd name="T7" fmla="*/ 254 h 901"/>
                  <a:gd name="T8" fmla="*/ 421 w 691"/>
                  <a:gd name="T9" fmla="*/ 258 h 901"/>
                  <a:gd name="T10" fmla="*/ 422 w 691"/>
                  <a:gd name="T11" fmla="*/ 261 h 901"/>
                  <a:gd name="T12" fmla="*/ 423 w 691"/>
                  <a:gd name="T13" fmla="*/ 263 h 901"/>
                  <a:gd name="T14" fmla="*/ 425 w 691"/>
                  <a:gd name="T15" fmla="*/ 265 h 901"/>
                  <a:gd name="T16" fmla="*/ 427 w 691"/>
                  <a:gd name="T17" fmla="*/ 267 h 901"/>
                  <a:gd name="T18" fmla="*/ 429 w 691"/>
                  <a:gd name="T19" fmla="*/ 268 h 901"/>
                  <a:gd name="T20" fmla="*/ 432 w 691"/>
                  <a:gd name="T21" fmla="*/ 269 h 901"/>
                  <a:gd name="T22" fmla="*/ 436 w 691"/>
                  <a:gd name="T23" fmla="*/ 269 h 901"/>
                  <a:gd name="T24" fmla="*/ 660 w 691"/>
                  <a:gd name="T25" fmla="*/ 269 h 901"/>
                  <a:gd name="T26" fmla="*/ 660 w 691"/>
                  <a:gd name="T27" fmla="*/ 871 h 901"/>
                  <a:gd name="T28" fmla="*/ 30 w 691"/>
                  <a:gd name="T29" fmla="*/ 871 h 901"/>
                  <a:gd name="T30" fmla="*/ 450 w 691"/>
                  <a:gd name="T31" fmla="*/ 52 h 901"/>
                  <a:gd name="T32" fmla="*/ 640 w 691"/>
                  <a:gd name="T33" fmla="*/ 239 h 901"/>
                  <a:gd name="T34" fmla="*/ 450 w 691"/>
                  <a:gd name="T35" fmla="*/ 239 h 901"/>
                  <a:gd name="T36" fmla="*/ 450 w 691"/>
                  <a:gd name="T37" fmla="*/ 52 h 901"/>
                  <a:gd name="T38" fmla="*/ 686 w 691"/>
                  <a:gd name="T39" fmla="*/ 244 h 901"/>
                  <a:gd name="T40" fmla="*/ 446 w 691"/>
                  <a:gd name="T41" fmla="*/ 4 h 901"/>
                  <a:gd name="T42" fmla="*/ 444 w 691"/>
                  <a:gd name="T43" fmla="*/ 2 h 901"/>
                  <a:gd name="T44" fmla="*/ 441 w 691"/>
                  <a:gd name="T45" fmla="*/ 1 h 901"/>
                  <a:gd name="T46" fmla="*/ 439 w 691"/>
                  <a:gd name="T47" fmla="*/ 0 h 901"/>
                  <a:gd name="T48" fmla="*/ 436 w 691"/>
                  <a:gd name="T49" fmla="*/ 0 h 901"/>
                  <a:gd name="T50" fmla="*/ 15 w 691"/>
                  <a:gd name="T51" fmla="*/ 0 h 901"/>
                  <a:gd name="T52" fmla="*/ 12 w 691"/>
                  <a:gd name="T53" fmla="*/ 0 h 901"/>
                  <a:gd name="T54" fmla="*/ 9 w 691"/>
                  <a:gd name="T55" fmla="*/ 1 h 901"/>
                  <a:gd name="T56" fmla="*/ 6 w 691"/>
                  <a:gd name="T57" fmla="*/ 2 h 901"/>
                  <a:gd name="T58" fmla="*/ 4 w 691"/>
                  <a:gd name="T59" fmla="*/ 4 h 901"/>
                  <a:gd name="T60" fmla="*/ 2 w 691"/>
                  <a:gd name="T61" fmla="*/ 6 h 901"/>
                  <a:gd name="T62" fmla="*/ 1 w 691"/>
                  <a:gd name="T63" fmla="*/ 9 h 901"/>
                  <a:gd name="T64" fmla="*/ 0 w 691"/>
                  <a:gd name="T65" fmla="*/ 11 h 901"/>
                  <a:gd name="T66" fmla="*/ 0 w 691"/>
                  <a:gd name="T67" fmla="*/ 15 h 901"/>
                  <a:gd name="T68" fmla="*/ 0 w 691"/>
                  <a:gd name="T69" fmla="*/ 886 h 901"/>
                  <a:gd name="T70" fmla="*/ 0 w 691"/>
                  <a:gd name="T71" fmla="*/ 889 h 901"/>
                  <a:gd name="T72" fmla="*/ 1 w 691"/>
                  <a:gd name="T73" fmla="*/ 891 h 901"/>
                  <a:gd name="T74" fmla="*/ 2 w 691"/>
                  <a:gd name="T75" fmla="*/ 894 h 901"/>
                  <a:gd name="T76" fmla="*/ 4 w 691"/>
                  <a:gd name="T77" fmla="*/ 897 h 901"/>
                  <a:gd name="T78" fmla="*/ 6 w 691"/>
                  <a:gd name="T79" fmla="*/ 898 h 901"/>
                  <a:gd name="T80" fmla="*/ 9 w 691"/>
                  <a:gd name="T81" fmla="*/ 900 h 901"/>
                  <a:gd name="T82" fmla="*/ 12 w 691"/>
                  <a:gd name="T83" fmla="*/ 900 h 901"/>
                  <a:gd name="T84" fmla="*/ 15 w 691"/>
                  <a:gd name="T85" fmla="*/ 901 h 901"/>
                  <a:gd name="T86" fmla="*/ 676 w 691"/>
                  <a:gd name="T87" fmla="*/ 901 h 901"/>
                  <a:gd name="T88" fmla="*/ 678 w 691"/>
                  <a:gd name="T89" fmla="*/ 900 h 901"/>
                  <a:gd name="T90" fmla="*/ 682 w 691"/>
                  <a:gd name="T91" fmla="*/ 900 h 901"/>
                  <a:gd name="T92" fmla="*/ 684 w 691"/>
                  <a:gd name="T93" fmla="*/ 898 h 901"/>
                  <a:gd name="T94" fmla="*/ 686 w 691"/>
                  <a:gd name="T95" fmla="*/ 897 h 901"/>
                  <a:gd name="T96" fmla="*/ 688 w 691"/>
                  <a:gd name="T97" fmla="*/ 894 h 901"/>
                  <a:gd name="T98" fmla="*/ 689 w 691"/>
                  <a:gd name="T99" fmla="*/ 891 h 901"/>
                  <a:gd name="T100" fmla="*/ 690 w 691"/>
                  <a:gd name="T101" fmla="*/ 889 h 901"/>
                  <a:gd name="T102" fmla="*/ 691 w 691"/>
                  <a:gd name="T103" fmla="*/ 886 h 901"/>
                  <a:gd name="T104" fmla="*/ 691 w 691"/>
                  <a:gd name="T105" fmla="*/ 254 h 901"/>
                  <a:gd name="T106" fmla="*/ 689 w 691"/>
                  <a:gd name="T107" fmla="*/ 249 h 901"/>
                  <a:gd name="T108" fmla="*/ 686 w 691"/>
                  <a:gd name="T109" fmla="*/ 244 h 9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91" h="901">
                    <a:moveTo>
                      <a:pt x="30" y="871"/>
                    </a:moveTo>
                    <a:lnTo>
                      <a:pt x="30" y="30"/>
                    </a:lnTo>
                    <a:lnTo>
                      <a:pt x="421" y="30"/>
                    </a:lnTo>
                    <a:lnTo>
                      <a:pt x="421" y="254"/>
                    </a:lnTo>
                    <a:lnTo>
                      <a:pt x="421" y="258"/>
                    </a:lnTo>
                    <a:lnTo>
                      <a:pt x="422" y="261"/>
                    </a:lnTo>
                    <a:lnTo>
                      <a:pt x="423" y="263"/>
                    </a:lnTo>
                    <a:lnTo>
                      <a:pt x="425" y="265"/>
                    </a:lnTo>
                    <a:lnTo>
                      <a:pt x="427" y="267"/>
                    </a:lnTo>
                    <a:lnTo>
                      <a:pt x="429" y="268"/>
                    </a:lnTo>
                    <a:lnTo>
                      <a:pt x="432" y="269"/>
                    </a:lnTo>
                    <a:lnTo>
                      <a:pt x="436" y="269"/>
                    </a:lnTo>
                    <a:lnTo>
                      <a:pt x="660" y="269"/>
                    </a:lnTo>
                    <a:lnTo>
                      <a:pt x="660" y="871"/>
                    </a:lnTo>
                    <a:lnTo>
                      <a:pt x="30" y="871"/>
                    </a:lnTo>
                    <a:close/>
                    <a:moveTo>
                      <a:pt x="450" y="52"/>
                    </a:moveTo>
                    <a:lnTo>
                      <a:pt x="640" y="239"/>
                    </a:lnTo>
                    <a:lnTo>
                      <a:pt x="450" y="239"/>
                    </a:lnTo>
                    <a:lnTo>
                      <a:pt x="450" y="52"/>
                    </a:lnTo>
                    <a:close/>
                    <a:moveTo>
                      <a:pt x="686" y="244"/>
                    </a:moveTo>
                    <a:lnTo>
                      <a:pt x="446" y="4"/>
                    </a:lnTo>
                    <a:lnTo>
                      <a:pt x="444" y="2"/>
                    </a:lnTo>
                    <a:lnTo>
                      <a:pt x="441" y="1"/>
                    </a:lnTo>
                    <a:lnTo>
                      <a:pt x="439" y="0"/>
                    </a:lnTo>
                    <a:lnTo>
                      <a:pt x="436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9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886"/>
                    </a:lnTo>
                    <a:lnTo>
                      <a:pt x="0" y="889"/>
                    </a:lnTo>
                    <a:lnTo>
                      <a:pt x="1" y="891"/>
                    </a:lnTo>
                    <a:lnTo>
                      <a:pt x="2" y="894"/>
                    </a:lnTo>
                    <a:lnTo>
                      <a:pt x="4" y="897"/>
                    </a:lnTo>
                    <a:lnTo>
                      <a:pt x="6" y="898"/>
                    </a:lnTo>
                    <a:lnTo>
                      <a:pt x="9" y="900"/>
                    </a:lnTo>
                    <a:lnTo>
                      <a:pt x="12" y="900"/>
                    </a:lnTo>
                    <a:lnTo>
                      <a:pt x="15" y="901"/>
                    </a:lnTo>
                    <a:lnTo>
                      <a:pt x="676" y="901"/>
                    </a:lnTo>
                    <a:lnTo>
                      <a:pt x="678" y="900"/>
                    </a:lnTo>
                    <a:lnTo>
                      <a:pt x="682" y="900"/>
                    </a:lnTo>
                    <a:lnTo>
                      <a:pt x="684" y="898"/>
                    </a:lnTo>
                    <a:lnTo>
                      <a:pt x="686" y="897"/>
                    </a:lnTo>
                    <a:lnTo>
                      <a:pt x="688" y="894"/>
                    </a:lnTo>
                    <a:lnTo>
                      <a:pt x="689" y="891"/>
                    </a:lnTo>
                    <a:lnTo>
                      <a:pt x="690" y="889"/>
                    </a:lnTo>
                    <a:lnTo>
                      <a:pt x="691" y="886"/>
                    </a:lnTo>
                    <a:lnTo>
                      <a:pt x="691" y="254"/>
                    </a:lnTo>
                    <a:lnTo>
                      <a:pt x="689" y="249"/>
                    </a:lnTo>
                    <a:lnTo>
                      <a:pt x="686" y="2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181">
                <a:extLst>
                  <a:ext uri="{FF2B5EF4-FFF2-40B4-BE49-F238E27FC236}">
                    <a16:creationId xmlns:a16="http://schemas.microsoft.com/office/drawing/2014/main" id="{ED586B97-C47D-4545-879F-93C6AF17E9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80763" y="1474788"/>
                <a:ext cx="57150" cy="9525"/>
              </a:xfrm>
              <a:custGeom>
                <a:avLst/>
                <a:gdLst>
                  <a:gd name="T0" fmla="*/ 167 w 182"/>
                  <a:gd name="T1" fmla="*/ 0 h 31"/>
                  <a:gd name="T2" fmla="*/ 15 w 182"/>
                  <a:gd name="T3" fmla="*/ 0 h 31"/>
                  <a:gd name="T4" fmla="*/ 13 w 182"/>
                  <a:gd name="T5" fmla="*/ 1 h 31"/>
                  <a:gd name="T6" fmla="*/ 10 w 182"/>
                  <a:gd name="T7" fmla="*/ 2 h 31"/>
                  <a:gd name="T8" fmla="*/ 8 w 182"/>
                  <a:gd name="T9" fmla="*/ 3 h 31"/>
                  <a:gd name="T10" fmla="*/ 5 w 182"/>
                  <a:gd name="T11" fmla="*/ 6 h 31"/>
                  <a:gd name="T12" fmla="*/ 4 w 182"/>
                  <a:gd name="T13" fmla="*/ 8 h 31"/>
                  <a:gd name="T14" fmla="*/ 1 w 182"/>
                  <a:gd name="T15" fmla="*/ 10 h 31"/>
                  <a:gd name="T16" fmla="*/ 1 w 182"/>
                  <a:gd name="T17" fmla="*/ 13 h 31"/>
                  <a:gd name="T18" fmla="*/ 0 w 182"/>
                  <a:gd name="T19" fmla="*/ 15 h 31"/>
                  <a:gd name="T20" fmla="*/ 1 w 182"/>
                  <a:gd name="T21" fmla="*/ 20 h 31"/>
                  <a:gd name="T22" fmla="*/ 1 w 182"/>
                  <a:gd name="T23" fmla="*/ 22 h 31"/>
                  <a:gd name="T24" fmla="*/ 4 w 182"/>
                  <a:gd name="T25" fmla="*/ 25 h 31"/>
                  <a:gd name="T26" fmla="*/ 5 w 182"/>
                  <a:gd name="T27" fmla="*/ 27 h 31"/>
                  <a:gd name="T28" fmla="*/ 8 w 182"/>
                  <a:gd name="T29" fmla="*/ 28 h 31"/>
                  <a:gd name="T30" fmla="*/ 10 w 182"/>
                  <a:gd name="T31" fmla="*/ 30 h 31"/>
                  <a:gd name="T32" fmla="*/ 13 w 182"/>
                  <a:gd name="T33" fmla="*/ 30 h 31"/>
                  <a:gd name="T34" fmla="*/ 15 w 182"/>
                  <a:gd name="T35" fmla="*/ 31 h 31"/>
                  <a:gd name="T36" fmla="*/ 167 w 182"/>
                  <a:gd name="T37" fmla="*/ 31 h 31"/>
                  <a:gd name="T38" fmla="*/ 171 w 182"/>
                  <a:gd name="T39" fmla="*/ 30 h 31"/>
                  <a:gd name="T40" fmla="*/ 173 w 182"/>
                  <a:gd name="T41" fmla="*/ 30 h 31"/>
                  <a:gd name="T42" fmla="*/ 176 w 182"/>
                  <a:gd name="T43" fmla="*/ 28 h 31"/>
                  <a:gd name="T44" fmla="*/ 178 w 182"/>
                  <a:gd name="T45" fmla="*/ 27 h 31"/>
                  <a:gd name="T46" fmla="*/ 180 w 182"/>
                  <a:gd name="T47" fmla="*/ 25 h 31"/>
                  <a:gd name="T48" fmla="*/ 181 w 182"/>
                  <a:gd name="T49" fmla="*/ 22 h 31"/>
                  <a:gd name="T50" fmla="*/ 182 w 182"/>
                  <a:gd name="T51" fmla="*/ 20 h 31"/>
                  <a:gd name="T52" fmla="*/ 182 w 182"/>
                  <a:gd name="T53" fmla="*/ 15 h 31"/>
                  <a:gd name="T54" fmla="*/ 182 w 182"/>
                  <a:gd name="T55" fmla="*/ 13 h 31"/>
                  <a:gd name="T56" fmla="*/ 181 w 182"/>
                  <a:gd name="T57" fmla="*/ 10 h 31"/>
                  <a:gd name="T58" fmla="*/ 180 w 182"/>
                  <a:gd name="T59" fmla="*/ 8 h 31"/>
                  <a:gd name="T60" fmla="*/ 178 w 182"/>
                  <a:gd name="T61" fmla="*/ 6 h 31"/>
                  <a:gd name="T62" fmla="*/ 176 w 182"/>
                  <a:gd name="T63" fmla="*/ 3 h 31"/>
                  <a:gd name="T64" fmla="*/ 173 w 182"/>
                  <a:gd name="T65" fmla="*/ 2 h 31"/>
                  <a:gd name="T66" fmla="*/ 171 w 182"/>
                  <a:gd name="T67" fmla="*/ 1 h 31"/>
                  <a:gd name="T68" fmla="*/ 167 w 182"/>
                  <a:gd name="T6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2" h="31">
                    <a:moveTo>
                      <a:pt x="167" y="0"/>
                    </a:moveTo>
                    <a:lnTo>
                      <a:pt x="15" y="0"/>
                    </a:lnTo>
                    <a:lnTo>
                      <a:pt x="13" y="1"/>
                    </a:lnTo>
                    <a:lnTo>
                      <a:pt x="10" y="2"/>
                    </a:lnTo>
                    <a:lnTo>
                      <a:pt x="8" y="3"/>
                    </a:lnTo>
                    <a:lnTo>
                      <a:pt x="5" y="6"/>
                    </a:lnTo>
                    <a:lnTo>
                      <a:pt x="4" y="8"/>
                    </a:lnTo>
                    <a:lnTo>
                      <a:pt x="1" y="10"/>
                    </a:lnTo>
                    <a:lnTo>
                      <a:pt x="1" y="13"/>
                    </a:lnTo>
                    <a:lnTo>
                      <a:pt x="0" y="15"/>
                    </a:lnTo>
                    <a:lnTo>
                      <a:pt x="1" y="20"/>
                    </a:lnTo>
                    <a:lnTo>
                      <a:pt x="1" y="22"/>
                    </a:lnTo>
                    <a:lnTo>
                      <a:pt x="4" y="25"/>
                    </a:lnTo>
                    <a:lnTo>
                      <a:pt x="5" y="27"/>
                    </a:lnTo>
                    <a:lnTo>
                      <a:pt x="8" y="28"/>
                    </a:lnTo>
                    <a:lnTo>
                      <a:pt x="10" y="30"/>
                    </a:lnTo>
                    <a:lnTo>
                      <a:pt x="13" y="30"/>
                    </a:lnTo>
                    <a:lnTo>
                      <a:pt x="15" y="31"/>
                    </a:lnTo>
                    <a:lnTo>
                      <a:pt x="167" y="31"/>
                    </a:lnTo>
                    <a:lnTo>
                      <a:pt x="171" y="30"/>
                    </a:lnTo>
                    <a:lnTo>
                      <a:pt x="173" y="30"/>
                    </a:lnTo>
                    <a:lnTo>
                      <a:pt x="176" y="28"/>
                    </a:lnTo>
                    <a:lnTo>
                      <a:pt x="178" y="27"/>
                    </a:lnTo>
                    <a:lnTo>
                      <a:pt x="180" y="25"/>
                    </a:lnTo>
                    <a:lnTo>
                      <a:pt x="181" y="22"/>
                    </a:lnTo>
                    <a:lnTo>
                      <a:pt x="182" y="20"/>
                    </a:lnTo>
                    <a:lnTo>
                      <a:pt x="182" y="15"/>
                    </a:lnTo>
                    <a:lnTo>
                      <a:pt x="182" y="13"/>
                    </a:lnTo>
                    <a:lnTo>
                      <a:pt x="181" y="10"/>
                    </a:lnTo>
                    <a:lnTo>
                      <a:pt x="180" y="8"/>
                    </a:lnTo>
                    <a:lnTo>
                      <a:pt x="178" y="6"/>
                    </a:lnTo>
                    <a:lnTo>
                      <a:pt x="176" y="3"/>
                    </a:lnTo>
                    <a:lnTo>
                      <a:pt x="173" y="2"/>
                    </a:lnTo>
                    <a:lnTo>
                      <a:pt x="171" y="1"/>
                    </a:lnTo>
                    <a:lnTo>
                      <a:pt x="16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182">
                <a:extLst>
                  <a:ext uri="{FF2B5EF4-FFF2-40B4-BE49-F238E27FC236}">
                    <a16:creationId xmlns:a16="http://schemas.microsoft.com/office/drawing/2014/main" id="{BCFB0F95-9A5A-488F-9F6B-508ED1C0A5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80763" y="1522413"/>
                <a:ext cx="57150" cy="9525"/>
              </a:xfrm>
              <a:custGeom>
                <a:avLst/>
                <a:gdLst>
                  <a:gd name="T0" fmla="*/ 167 w 182"/>
                  <a:gd name="T1" fmla="*/ 0 h 30"/>
                  <a:gd name="T2" fmla="*/ 15 w 182"/>
                  <a:gd name="T3" fmla="*/ 0 h 30"/>
                  <a:gd name="T4" fmla="*/ 13 w 182"/>
                  <a:gd name="T5" fmla="*/ 0 h 30"/>
                  <a:gd name="T6" fmla="*/ 10 w 182"/>
                  <a:gd name="T7" fmla="*/ 1 h 30"/>
                  <a:gd name="T8" fmla="*/ 8 w 182"/>
                  <a:gd name="T9" fmla="*/ 2 h 30"/>
                  <a:gd name="T10" fmla="*/ 5 w 182"/>
                  <a:gd name="T11" fmla="*/ 4 h 30"/>
                  <a:gd name="T12" fmla="*/ 4 w 182"/>
                  <a:gd name="T13" fmla="*/ 7 h 30"/>
                  <a:gd name="T14" fmla="*/ 1 w 182"/>
                  <a:gd name="T15" fmla="*/ 10 h 30"/>
                  <a:gd name="T16" fmla="*/ 1 w 182"/>
                  <a:gd name="T17" fmla="*/ 12 h 30"/>
                  <a:gd name="T18" fmla="*/ 0 w 182"/>
                  <a:gd name="T19" fmla="*/ 15 h 30"/>
                  <a:gd name="T20" fmla="*/ 1 w 182"/>
                  <a:gd name="T21" fmla="*/ 18 h 30"/>
                  <a:gd name="T22" fmla="*/ 1 w 182"/>
                  <a:gd name="T23" fmla="*/ 22 h 30"/>
                  <a:gd name="T24" fmla="*/ 4 w 182"/>
                  <a:gd name="T25" fmla="*/ 24 h 30"/>
                  <a:gd name="T26" fmla="*/ 5 w 182"/>
                  <a:gd name="T27" fmla="*/ 26 h 30"/>
                  <a:gd name="T28" fmla="*/ 8 w 182"/>
                  <a:gd name="T29" fmla="*/ 28 h 30"/>
                  <a:gd name="T30" fmla="*/ 10 w 182"/>
                  <a:gd name="T31" fmla="*/ 29 h 30"/>
                  <a:gd name="T32" fmla="*/ 13 w 182"/>
                  <a:gd name="T33" fmla="*/ 30 h 30"/>
                  <a:gd name="T34" fmla="*/ 15 w 182"/>
                  <a:gd name="T35" fmla="*/ 30 h 30"/>
                  <a:gd name="T36" fmla="*/ 167 w 182"/>
                  <a:gd name="T37" fmla="*/ 30 h 30"/>
                  <a:gd name="T38" fmla="*/ 171 w 182"/>
                  <a:gd name="T39" fmla="*/ 30 h 30"/>
                  <a:gd name="T40" fmla="*/ 173 w 182"/>
                  <a:gd name="T41" fmla="*/ 29 h 30"/>
                  <a:gd name="T42" fmla="*/ 176 w 182"/>
                  <a:gd name="T43" fmla="*/ 28 h 30"/>
                  <a:gd name="T44" fmla="*/ 178 w 182"/>
                  <a:gd name="T45" fmla="*/ 26 h 30"/>
                  <a:gd name="T46" fmla="*/ 180 w 182"/>
                  <a:gd name="T47" fmla="*/ 24 h 30"/>
                  <a:gd name="T48" fmla="*/ 181 w 182"/>
                  <a:gd name="T49" fmla="*/ 22 h 30"/>
                  <a:gd name="T50" fmla="*/ 182 w 182"/>
                  <a:gd name="T51" fmla="*/ 18 h 30"/>
                  <a:gd name="T52" fmla="*/ 182 w 182"/>
                  <a:gd name="T53" fmla="*/ 15 h 30"/>
                  <a:gd name="T54" fmla="*/ 182 w 182"/>
                  <a:gd name="T55" fmla="*/ 12 h 30"/>
                  <a:gd name="T56" fmla="*/ 181 w 182"/>
                  <a:gd name="T57" fmla="*/ 10 h 30"/>
                  <a:gd name="T58" fmla="*/ 180 w 182"/>
                  <a:gd name="T59" fmla="*/ 7 h 30"/>
                  <a:gd name="T60" fmla="*/ 178 w 182"/>
                  <a:gd name="T61" fmla="*/ 4 h 30"/>
                  <a:gd name="T62" fmla="*/ 176 w 182"/>
                  <a:gd name="T63" fmla="*/ 2 h 30"/>
                  <a:gd name="T64" fmla="*/ 173 w 182"/>
                  <a:gd name="T65" fmla="*/ 1 h 30"/>
                  <a:gd name="T66" fmla="*/ 171 w 182"/>
                  <a:gd name="T67" fmla="*/ 0 h 30"/>
                  <a:gd name="T68" fmla="*/ 167 w 182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2" h="30">
                    <a:moveTo>
                      <a:pt x="167" y="0"/>
                    </a:move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8" y="2"/>
                    </a:lnTo>
                    <a:lnTo>
                      <a:pt x="5" y="4"/>
                    </a:lnTo>
                    <a:lnTo>
                      <a:pt x="4" y="7"/>
                    </a:lnTo>
                    <a:lnTo>
                      <a:pt x="1" y="10"/>
                    </a:lnTo>
                    <a:lnTo>
                      <a:pt x="1" y="12"/>
                    </a:lnTo>
                    <a:lnTo>
                      <a:pt x="0" y="15"/>
                    </a:lnTo>
                    <a:lnTo>
                      <a:pt x="1" y="18"/>
                    </a:lnTo>
                    <a:lnTo>
                      <a:pt x="1" y="22"/>
                    </a:lnTo>
                    <a:lnTo>
                      <a:pt x="4" y="24"/>
                    </a:lnTo>
                    <a:lnTo>
                      <a:pt x="5" y="26"/>
                    </a:lnTo>
                    <a:lnTo>
                      <a:pt x="8" y="28"/>
                    </a:lnTo>
                    <a:lnTo>
                      <a:pt x="10" y="29"/>
                    </a:lnTo>
                    <a:lnTo>
                      <a:pt x="13" y="30"/>
                    </a:lnTo>
                    <a:lnTo>
                      <a:pt x="15" y="30"/>
                    </a:lnTo>
                    <a:lnTo>
                      <a:pt x="167" y="30"/>
                    </a:lnTo>
                    <a:lnTo>
                      <a:pt x="171" y="30"/>
                    </a:lnTo>
                    <a:lnTo>
                      <a:pt x="173" y="29"/>
                    </a:lnTo>
                    <a:lnTo>
                      <a:pt x="176" y="28"/>
                    </a:lnTo>
                    <a:lnTo>
                      <a:pt x="178" y="26"/>
                    </a:lnTo>
                    <a:lnTo>
                      <a:pt x="180" y="24"/>
                    </a:lnTo>
                    <a:lnTo>
                      <a:pt x="181" y="22"/>
                    </a:lnTo>
                    <a:lnTo>
                      <a:pt x="182" y="18"/>
                    </a:lnTo>
                    <a:lnTo>
                      <a:pt x="182" y="15"/>
                    </a:lnTo>
                    <a:lnTo>
                      <a:pt x="182" y="12"/>
                    </a:lnTo>
                    <a:lnTo>
                      <a:pt x="181" y="10"/>
                    </a:lnTo>
                    <a:lnTo>
                      <a:pt x="180" y="7"/>
                    </a:lnTo>
                    <a:lnTo>
                      <a:pt x="178" y="4"/>
                    </a:lnTo>
                    <a:lnTo>
                      <a:pt x="176" y="2"/>
                    </a:lnTo>
                    <a:lnTo>
                      <a:pt x="173" y="1"/>
                    </a:lnTo>
                    <a:lnTo>
                      <a:pt x="171" y="0"/>
                    </a:lnTo>
                    <a:lnTo>
                      <a:pt x="16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183">
                <a:extLst>
                  <a:ext uri="{FF2B5EF4-FFF2-40B4-BE49-F238E27FC236}">
                    <a16:creationId xmlns:a16="http://schemas.microsoft.com/office/drawing/2014/main" id="{4AD08EA6-3238-459E-B284-3034066A1B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80763" y="1579563"/>
                <a:ext cx="57150" cy="9525"/>
              </a:xfrm>
              <a:custGeom>
                <a:avLst/>
                <a:gdLst>
                  <a:gd name="T0" fmla="*/ 167 w 182"/>
                  <a:gd name="T1" fmla="*/ 0 h 30"/>
                  <a:gd name="T2" fmla="*/ 15 w 182"/>
                  <a:gd name="T3" fmla="*/ 0 h 30"/>
                  <a:gd name="T4" fmla="*/ 13 w 182"/>
                  <a:gd name="T5" fmla="*/ 1 h 30"/>
                  <a:gd name="T6" fmla="*/ 10 w 182"/>
                  <a:gd name="T7" fmla="*/ 1 h 30"/>
                  <a:gd name="T8" fmla="*/ 8 w 182"/>
                  <a:gd name="T9" fmla="*/ 3 h 30"/>
                  <a:gd name="T10" fmla="*/ 5 w 182"/>
                  <a:gd name="T11" fmla="*/ 5 h 30"/>
                  <a:gd name="T12" fmla="*/ 4 w 182"/>
                  <a:gd name="T13" fmla="*/ 7 h 30"/>
                  <a:gd name="T14" fmla="*/ 1 w 182"/>
                  <a:gd name="T15" fmla="*/ 10 h 30"/>
                  <a:gd name="T16" fmla="*/ 1 w 182"/>
                  <a:gd name="T17" fmla="*/ 13 h 30"/>
                  <a:gd name="T18" fmla="*/ 0 w 182"/>
                  <a:gd name="T19" fmla="*/ 15 h 30"/>
                  <a:gd name="T20" fmla="*/ 1 w 182"/>
                  <a:gd name="T21" fmla="*/ 18 h 30"/>
                  <a:gd name="T22" fmla="*/ 1 w 182"/>
                  <a:gd name="T23" fmla="*/ 21 h 30"/>
                  <a:gd name="T24" fmla="*/ 4 w 182"/>
                  <a:gd name="T25" fmla="*/ 24 h 30"/>
                  <a:gd name="T26" fmla="*/ 5 w 182"/>
                  <a:gd name="T27" fmla="*/ 26 h 30"/>
                  <a:gd name="T28" fmla="*/ 8 w 182"/>
                  <a:gd name="T29" fmla="*/ 28 h 30"/>
                  <a:gd name="T30" fmla="*/ 10 w 182"/>
                  <a:gd name="T31" fmla="*/ 29 h 30"/>
                  <a:gd name="T32" fmla="*/ 13 w 182"/>
                  <a:gd name="T33" fmla="*/ 30 h 30"/>
                  <a:gd name="T34" fmla="*/ 15 w 182"/>
                  <a:gd name="T35" fmla="*/ 30 h 30"/>
                  <a:gd name="T36" fmla="*/ 167 w 182"/>
                  <a:gd name="T37" fmla="*/ 30 h 30"/>
                  <a:gd name="T38" fmla="*/ 171 w 182"/>
                  <a:gd name="T39" fmla="*/ 30 h 30"/>
                  <a:gd name="T40" fmla="*/ 173 w 182"/>
                  <a:gd name="T41" fmla="*/ 29 h 30"/>
                  <a:gd name="T42" fmla="*/ 176 w 182"/>
                  <a:gd name="T43" fmla="*/ 28 h 30"/>
                  <a:gd name="T44" fmla="*/ 178 w 182"/>
                  <a:gd name="T45" fmla="*/ 26 h 30"/>
                  <a:gd name="T46" fmla="*/ 180 w 182"/>
                  <a:gd name="T47" fmla="*/ 24 h 30"/>
                  <a:gd name="T48" fmla="*/ 181 w 182"/>
                  <a:gd name="T49" fmla="*/ 21 h 30"/>
                  <a:gd name="T50" fmla="*/ 182 w 182"/>
                  <a:gd name="T51" fmla="*/ 18 h 30"/>
                  <a:gd name="T52" fmla="*/ 182 w 182"/>
                  <a:gd name="T53" fmla="*/ 15 h 30"/>
                  <a:gd name="T54" fmla="*/ 182 w 182"/>
                  <a:gd name="T55" fmla="*/ 13 h 30"/>
                  <a:gd name="T56" fmla="*/ 181 w 182"/>
                  <a:gd name="T57" fmla="*/ 10 h 30"/>
                  <a:gd name="T58" fmla="*/ 180 w 182"/>
                  <a:gd name="T59" fmla="*/ 7 h 30"/>
                  <a:gd name="T60" fmla="*/ 178 w 182"/>
                  <a:gd name="T61" fmla="*/ 5 h 30"/>
                  <a:gd name="T62" fmla="*/ 176 w 182"/>
                  <a:gd name="T63" fmla="*/ 3 h 30"/>
                  <a:gd name="T64" fmla="*/ 173 w 182"/>
                  <a:gd name="T65" fmla="*/ 1 h 30"/>
                  <a:gd name="T66" fmla="*/ 171 w 182"/>
                  <a:gd name="T67" fmla="*/ 1 h 30"/>
                  <a:gd name="T68" fmla="*/ 167 w 182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2" h="30">
                    <a:moveTo>
                      <a:pt x="167" y="0"/>
                    </a:moveTo>
                    <a:lnTo>
                      <a:pt x="15" y="0"/>
                    </a:lnTo>
                    <a:lnTo>
                      <a:pt x="13" y="1"/>
                    </a:lnTo>
                    <a:lnTo>
                      <a:pt x="10" y="1"/>
                    </a:lnTo>
                    <a:lnTo>
                      <a:pt x="8" y="3"/>
                    </a:lnTo>
                    <a:lnTo>
                      <a:pt x="5" y="5"/>
                    </a:lnTo>
                    <a:lnTo>
                      <a:pt x="4" y="7"/>
                    </a:lnTo>
                    <a:lnTo>
                      <a:pt x="1" y="10"/>
                    </a:lnTo>
                    <a:lnTo>
                      <a:pt x="1" y="13"/>
                    </a:lnTo>
                    <a:lnTo>
                      <a:pt x="0" y="15"/>
                    </a:lnTo>
                    <a:lnTo>
                      <a:pt x="1" y="18"/>
                    </a:lnTo>
                    <a:lnTo>
                      <a:pt x="1" y="21"/>
                    </a:lnTo>
                    <a:lnTo>
                      <a:pt x="4" y="24"/>
                    </a:lnTo>
                    <a:lnTo>
                      <a:pt x="5" y="26"/>
                    </a:lnTo>
                    <a:lnTo>
                      <a:pt x="8" y="28"/>
                    </a:lnTo>
                    <a:lnTo>
                      <a:pt x="10" y="29"/>
                    </a:lnTo>
                    <a:lnTo>
                      <a:pt x="13" y="30"/>
                    </a:lnTo>
                    <a:lnTo>
                      <a:pt x="15" y="30"/>
                    </a:lnTo>
                    <a:lnTo>
                      <a:pt x="167" y="30"/>
                    </a:lnTo>
                    <a:lnTo>
                      <a:pt x="171" y="30"/>
                    </a:lnTo>
                    <a:lnTo>
                      <a:pt x="173" y="29"/>
                    </a:lnTo>
                    <a:lnTo>
                      <a:pt x="176" y="28"/>
                    </a:lnTo>
                    <a:lnTo>
                      <a:pt x="178" y="26"/>
                    </a:lnTo>
                    <a:lnTo>
                      <a:pt x="180" y="24"/>
                    </a:lnTo>
                    <a:lnTo>
                      <a:pt x="181" y="21"/>
                    </a:lnTo>
                    <a:lnTo>
                      <a:pt x="182" y="18"/>
                    </a:lnTo>
                    <a:lnTo>
                      <a:pt x="182" y="15"/>
                    </a:lnTo>
                    <a:lnTo>
                      <a:pt x="182" y="13"/>
                    </a:lnTo>
                    <a:lnTo>
                      <a:pt x="181" y="10"/>
                    </a:lnTo>
                    <a:lnTo>
                      <a:pt x="180" y="7"/>
                    </a:lnTo>
                    <a:lnTo>
                      <a:pt x="178" y="5"/>
                    </a:lnTo>
                    <a:lnTo>
                      <a:pt x="176" y="3"/>
                    </a:lnTo>
                    <a:lnTo>
                      <a:pt x="173" y="1"/>
                    </a:lnTo>
                    <a:lnTo>
                      <a:pt x="171" y="1"/>
                    </a:lnTo>
                    <a:lnTo>
                      <a:pt x="16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184">
                <a:extLst>
                  <a:ext uri="{FF2B5EF4-FFF2-40B4-BE49-F238E27FC236}">
                    <a16:creationId xmlns:a16="http://schemas.microsoft.com/office/drawing/2014/main" id="{65827D51-3467-40A1-971A-ECCA25BD50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9325" y="1450976"/>
                <a:ext cx="57150" cy="39688"/>
              </a:xfrm>
              <a:custGeom>
                <a:avLst/>
                <a:gdLst>
                  <a:gd name="T0" fmla="*/ 156 w 181"/>
                  <a:gd name="T1" fmla="*/ 4 h 126"/>
                  <a:gd name="T2" fmla="*/ 71 w 181"/>
                  <a:gd name="T3" fmla="*/ 88 h 126"/>
                  <a:gd name="T4" fmla="*/ 25 w 181"/>
                  <a:gd name="T5" fmla="*/ 43 h 126"/>
                  <a:gd name="T6" fmla="*/ 23 w 181"/>
                  <a:gd name="T7" fmla="*/ 41 h 126"/>
                  <a:gd name="T8" fmla="*/ 20 w 181"/>
                  <a:gd name="T9" fmla="*/ 39 h 126"/>
                  <a:gd name="T10" fmla="*/ 18 w 181"/>
                  <a:gd name="T11" fmla="*/ 39 h 126"/>
                  <a:gd name="T12" fmla="*/ 15 w 181"/>
                  <a:gd name="T13" fmla="*/ 38 h 126"/>
                  <a:gd name="T14" fmla="*/ 11 w 181"/>
                  <a:gd name="T15" fmla="*/ 39 h 126"/>
                  <a:gd name="T16" fmla="*/ 9 w 181"/>
                  <a:gd name="T17" fmla="*/ 39 h 126"/>
                  <a:gd name="T18" fmla="*/ 6 w 181"/>
                  <a:gd name="T19" fmla="*/ 41 h 126"/>
                  <a:gd name="T20" fmla="*/ 4 w 181"/>
                  <a:gd name="T21" fmla="*/ 43 h 126"/>
                  <a:gd name="T22" fmla="*/ 2 w 181"/>
                  <a:gd name="T23" fmla="*/ 45 h 126"/>
                  <a:gd name="T24" fmla="*/ 1 w 181"/>
                  <a:gd name="T25" fmla="*/ 47 h 126"/>
                  <a:gd name="T26" fmla="*/ 0 w 181"/>
                  <a:gd name="T27" fmla="*/ 51 h 126"/>
                  <a:gd name="T28" fmla="*/ 0 w 181"/>
                  <a:gd name="T29" fmla="*/ 53 h 126"/>
                  <a:gd name="T30" fmla="*/ 0 w 181"/>
                  <a:gd name="T31" fmla="*/ 56 h 126"/>
                  <a:gd name="T32" fmla="*/ 1 w 181"/>
                  <a:gd name="T33" fmla="*/ 59 h 126"/>
                  <a:gd name="T34" fmla="*/ 2 w 181"/>
                  <a:gd name="T35" fmla="*/ 61 h 126"/>
                  <a:gd name="T36" fmla="*/ 4 w 181"/>
                  <a:gd name="T37" fmla="*/ 63 h 126"/>
                  <a:gd name="T38" fmla="*/ 61 w 181"/>
                  <a:gd name="T39" fmla="*/ 121 h 126"/>
                  <a:gd name="T40" fmla="*/ 63 w 181"/>
                  <a:gd name="T41" fmla="*/ 122 h 126"/>
                  <a:gd name="T42" fmla="*/ 66 w 181"/>
                  <a:gd name="T43" fmla="*/ 124 h 126"/>
                  <a:gd name="T44" fmla="*/ 68 w 181"/>
                  <a:gd name="T45" fmla="*/ 126 h 126"/>
                  <a:gd name="T46" fmla="*/ 71 w 181"/>
                  <a:gd name="T47" fmla="*/ 126 h 126"/>
                  <a:gd name="T48" fmla="*/ 74 w 181"/>
                  <a:gd name="T49" fmla="*/ 126 h 126"/>
                  <a:gd name="T50" fmla="*/ 77 w 181"/>
                  <a:gd name="T51" fmla="*/ 124 h 126"/>
                  <a:gd name="T52" fmla="*/ 80 w 181"/>
                  <a:gd name="T53" fmla="*/ 122 h 126"/>
                  <a:gd name="T54" fmla="*/ 82 w 181"/>
                  <a:gd name="T55" fmla="*/ 121 h 126"/>
                  <a:gd name="T56" fmla="*/ 176 w 181"/>
                  <a:gd name="T57" fmla="*/ 26 h 126"/>
                  <a:gd name="T58" fmla="*/ 178 w 181"/>
                  <a:gd name="T59" fmla="*/ 24 h 126"/>
                  <a:gd name="T60" fmla="*/ 180 w 181"/>
                  <a:gd name="T61" fmla="*/ 21 h 126"/>
                  <a:gd name="T62" fmla="*/ 180 w 181"/>
                  <a:gd name="T63" fmla="*/ 17 h 126"/>
                  <a:gd name="T64" fmla="*/ 181 w 181"/>
                  <a:gd name="T65" fmla="*/ 15 h 126"/>
                  <a:gd name="T66" fmla="*/ 180 w 181"/>
                  <a:gd name="T67" fmla="*/ 12 h 126"/>
                  <a:gd name="T68" fmla="*/ 180 w 181"/>
                  <a:gd name="T69" fmla="*/ 9 h 126"/>
                  <a:gd name="T70" fmla="*/ 178 w 181"/>
                  <a:gd name="T71" fmla="*/ 6 h 126"/>
                  <a:gd name="T72" fmla="*/ 176 w 181"/>
                  <a:gd name="T73" fmla="*/ 4 h 126"/>
                  <a:gd name="T74" fmla="*/ 172 w 181"/>
                  <a:gd name="T75" fmla="*/ 1 h 126"/>
                  <a:gd name="T76" fmla="*/ 166 w 181"/>
                  <a:gd name="T77" fmla="*/ 0 h 126"/>
                  <a:gd name="T78" fmla="*/ 160 w 181"/>
                  <a:gd name="T79" fmla="*/ 1 h 126"/>
                  <a:gd name="T80" fmla="*/ 156 w 181"/>
                  <a:gd name="T81" fmla="*/ 4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81" h="126">
                    <a:moveTo>
                      <a:pt x="156" y="4"/>
                    </a:moveTo>
                    <a:lnTo>
                      <a:pt x="71" y="88"/>
                    </a:lnTo>
                    <a:lnTo>
                      <a:pt x="25" y="43"/>
                    </a:lnTo>
                    <a:lnTo>
                      <a:pt x="23" y="41"/>
                    </a:lnTo>
                    <a:lnTo>
                      <a:pt x="20" y="39"/>
                    </a:lnTo>
                    <a:lnTo>
                      <a:pt x="18" y="39"/>
                    </a:lnTo>
                    <a:lnTo>
                      <a:pt x="15" y="38"/>
                    </a:lnTo>
                    <a:lnTo>
                      <a:pt x="11" y="39"/>
                    </a:lnTo>
                    <a:lnTo>
                      <a:pt x="9" y="39"/>
                    </a:lnTo>
                    <a:lnTo>
                      <a:pt x="6" y="41"/>
                    </a:lnTo>
                    <a:lnTo>
                      <a:pt x="4" y="43"/>
                    </a:lnTo>
                    <a:lnTo>
                      <a:pt x="2" y="45"/>
                    </a:lnTo>
                    <a:lnTo>
                      <a:pt x="1" y="47"/>
                    </a:lnTo>
                    <a:lnTo>
                      <a:pt x="0" y="51"/>
                    </a:lnTo>
                    <a:lnTo>
                      <a:pt x="0" y="53"/>
                    </a:lnTo>
                    <a:lnTo>
                      <a:pt x="0" y="56"/>
                    </a:lnTo>
                    <a:lnTo>
                      <a:pt x="1" y="59"/>
                    </a:lnTo>
                    <a:lnTo>
                      <a:pt x="2" y="61"/>
                    </a:lnTo>
                    <a:lnTo>
                      <a:pt x="4" y="63"/>
                    </a:lnTo>
                    <a:lnTo>
                      <a:pt x="61" y="121"/>
                    </a:lnTo>
                    <a:lnTo>
                      <a:pt x="63" y="122"/>
                    </a:lnTo>
                    <a:lnTo>
                      <a:pt x="66" y="124"/>
                    </a:lnTo>
                    <a:lnTo>
                      <a:pt x="68" y="126"/>
                    </a:lnTo>
                    <a:lnTo>
                      <a:pt x="71" y="126"/>
                    </a:lnTo>
                    <a:lnTo>
                      <a:pt x="74" y="126"/>
                    </a:lnTo>
                    <a:lnTo>
                      <a:pt x="77" y="124"/>
                    </a:lnTo>
                    <a:lnTo>
                      <a:pt x="80" y="122"/>
                    </a:lnTo>
                    <a:lnTo>
                      <a:pt x="82" y="121"/>
                    </a:lnTo>
                    <a:lnTo>
                      <a:pt x="176" y="26"/>
                    </a:lnTo>
                    <a:lnTo>
                      <a:pt x="178" y="24"/>
                    </a:lnTo>
                    <a:lnTo>
                      <a:pt x="180" y="21"/>
                    </a:lnTo>
                    <a:lnTo>
                      <a:pt x="180" y="17"/>
                    </a:lnTo>
                    <a:lnTo>
                      <a:pt x="181" y="15"/>
                    </a:lnTo>
                    <a:lnTo>
                      <a:pt x="180" y="12"/>
                    </a:lnTo>
                    <a:lnTo>
                      <a:pt x="180" y="9"/>
                    </a:lnTo>
                    <a:lnTo>
                      <a:pt x="178" y="6"/>
                    </a:lnTo>
                    <a:lnTo>
                      <a:pt x="176" y="4"/>
                    </a:lnTo>
                    <a:lnTo>
                      <a:pt x="172" y="1"/>
                    </a:lnTo>
                    <a:lnTo>
                      <a:pt x="166" y="0"/>
                    </a:lnTo>
                    <a:lnTo>
                      <a:pt x="160" y="1"/>
                    </a:lnTo>
                    <a:lnTo>
                      <a:pt x="156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185">
                <a:extLst>
                  <a:ext uri="{FF2B5EF4-FFF2-40B4-BE49-F238E27FC236}">
                    <a16:creationId xmlns:a16="http://schemas.microsoft.com/office/drawing/2014/main" id="{6F27BC14-B9F8-4651-8D5A-C07EBE8D30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9325" y="1504951"/>
                <a:ext cx="57150" cy="39688"/>
              </a:xfrm>
              <a:custGeom>
                <a:avLst/>
                <a:gdLst>
                  <a:gd name="T0" fmla="*/ 156 w 181"/>
                  <a:gd name="T1" fmla="*/ 4 h 124"/>
                  <a:gd name="T2" fmla="*/ 71 w 181"/>
                  <a:gd name="T3" fmla="*/ 88 h 124"/>
                  <a:gd name="T4" fmla="*/ 25 w 181"/>
                  <a:gd name="T5" fmla="*/ 41 h 124"/>
                  <a:gd name="T6" fmla="*/ 23 w 181"/>
                  <a:gd name="T7" fmla="*/ 39 h 124"/>
                  <a:gd name="T8" fmla="*/ 20 w 181"/>
                  <a:gd name="T9" fmla="*/ 38 h 124"/>
                  <a:gd name="T10" fmla="*/ 18 w 181"/>
                  <a:gd name="T11" fmla="*/ 37 h 124"/>
                  <a:gd name="T12" fmla="*/ 15 w 181"/>
                  <a:gd name="T13" fmla="*/ 37 h 124"/>
                  <a:gd name="T14" fmla="*/ 11 w 181"/>
                  <a:gd name="T15" fmla="*/ 37 h 124"/>
                  <a:gd name="T16" fmla="*/ 9 w 181"/>
                  <a:gd name="T17" fmla="*/ 38 h 124"/>
                  <a:gd name="T18" fmla="*/ 6 w 181"/>
                  <a:gd name="T19" fmla="*/ 39 h 124"/>
                  <a:gd name="T20" fmla="*/ 4 w 181"/>
                  <a:gd name="T21" fmla="*/ 41 h 124"/>
                  <a:gd name="T22" fmla="*/ 2 w 181"/>
                  <a:gd name="T23" fmla="*/ 43 h 124"/>
                  <a:gd name="T24" fmla="*/ 1 w 181"/>
                  <a:gd name="T25" fmla="*/ 47 h 124"/>
                  <a:gd name="T26" fmla="*/ 0 w 181"/>
                  <a:gd name="T27" fmla="*/ 49 h 124"/>
                  <a:gd name="T28" fmla="*/ 0 w 181"/>
                  <a:gd name="T29" fmla="*/ 52 h 124"/>
                  <a:gd name="T30" fmla="*/ 0 w 181"/>
                  <a:gd name="T31" fmla="*/ 55 h 124"/>
                  <a:gd name="T32" fmla="*/ 1 w 181"/>
                  <a:gd name="T33" fmla="*/ 57 h 124"/>
                  <a:gd name="T34" fmla="*/ 2 w 181"/>
                  <a:gd name="T35" fmla="*/ 61 h 124"/>
                  <a:gd name="T36" fmla="*/ 4 w 181"/>
                  <a:gd name="T37" fmla="*/ 63 h 124"/>
                  <a:gd name="T38" fmla="*/ 61 w 181"/>
                  <a:gd name="T39" fmla="*/ 119 h 124"/>
                  <a:gd name="T40" fmla="*/ 63 w 181"/>
                  <a:gd name="T41" fmla="*/ 122 h 124"/>
                  <a:gd name="T42" fmla="*/ 66 w 181"/>
                  <a:gd name="T43" fmla="*/ 123 h 124"/>
                  <a:gd name="T44" fmla="*/ 68 w 181"/>
                  <a:gd name="T45" fmla="*/ 124 h 124"/>
                  <a:gd name="T46" fmla="*/ 71 w 181"/>
                  <a:gd name="T47" fmla="*/ 124 h 124"/>
                  <a:gd name="T48" fmla="*/ 74 w 181"/>
                  <a:gd name="T49" fmla="*/ 124 h 124"/>
                  <a:gd name="T50" fmla="*/ 77 w 181"/>
                  <a:gd name="T51" fmla="*/ 123 h 124"/>
                  <a:gd name="T52" fmla="*/ 80 w 181"/>
                  <a:gd name="T53" fmla="*/ 122 h 124"/>
                  <a:gd name="T54" fmla="*/ 82 w 181"/>
                  <a:gd name="T55" fmla="*/ 119 h 124"/>
                  <a:gd name="T56" fmla="*/ 176 w 181"/>
                  <a:gd name="T57" fmla="*/ 25 h 124"/>
                  <a:gd name="T58" fmla="*/ 178 w 181"/>
                  <a:gd name="T59" fmla="*/ 23 h 124"/>
                  <a:gd name="T60" fmla="*/ 180 w 181"/>
                  <a:gd name="T61" fmla="*/ 20 h 124"/>
                  <a:gd name="T62" fmla="*/ 180 w 181"/>
                  <a:gd name="T63" fmla="*/ 18 h 124"/>
                  <a:gd name="T64" fmla="*/ 181 w 181"/>
                  <a:gd name="T65" fmla="*/ 14 h 124"/>
                  <a:gd name="T66" fmla="*/ 180 w 181"/>
                  <a:gd name="T67" fmla="*/ 11 h 124"/>
                  <a:gd name="T68" fmla="*/ 180 w 181"/>
                  <a:gd name="T69" fmla="*/ 9 h 124"/>
                  <a:gd name="T70" fmla="*/ 178 w 181"/>
                  <a:gd name="T71" fmla="*/ 6 h 124"/>
                  <a:gd name="T72" fmla="*/ 176 w 181"/>
                  <a:gd name="T73" fmla="*/ 4 h 124"/>
                  <a:gd name="T74" fmla="*/ 174 w 181"/>
                  <a:gd name="T75" fmla="*/ 2 h 124"/>
                  <a:gd name="T76" fmla="*/ 172 w 181"/>
                  <a:gd name="T77" fmla="*/ 1 h 124"/>
                  <a:gd name="T78" fmla="*/ 169 w 181"/>
                  <a:gd name="T79" fmla="*/ 0 h 124"/>
                  <a:gd name="T80" fmla="*/ 166 w 181"/>
                  <a:gd name="T81" fmla="*/ 0 h 124"/>
                  <a:gd name="T82" fmla="*/ 163 w 181"/>
                  <a:gd name="T83" fmla="*/ 0 h 124"/>
                  <a:gd name="T84" fmla="*/ 160 w 181"/>
                  <a:gd name="T85" fmla="*/ 1 h 124"/>
                  <a:gd name="T86" fmla="*/ 158 w 181"/>
                  <a:gd name="T87" fmla="*/ 2 h 124"/>
                  <a:gd name="T88" fmla="*/ 156 w 181"/>
                  <a:gd name="T89" fmla="*/ 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81" h="124">
                    <a:moveTo>
                      <a:pt x="156" y="4"/>
                    </a:moveTo>
                    <a:lnTo>
                      <a:pt x="71" y="88"/>
                    </a:lnTo>
                    <a:lnTo>
                      <a:pt x="25" y="41"/>
                    </a:lnTo>
                    <a:lnTo>
                      <a:pt x="23" y="39"/>
                    </a:lnTo>
                    <a:lnTo>
                      <a:pt x="20" y="38"/>
                    </a:lnTo>
                    <a:lnTo>
                      <a:pt x="18" y="37"/>
                    </a:lnTo>
                    <a:lnTo>
                      <a:pt x="15" y="37"/>
                    </a:lnTo>
                    <a:lnTo>
                      <a:pt x="11" y="37"/>
                    </a:lnTo>
                    <a:lnTo>
                      <a:pt x="9" y="38"/>
                    </a:lnTo>
                    <a:lnTo>
                      <a:pt x="6" y="39"/>
                    </a:lnTo>
                    <a:lnTo>
                      <a:pt x="4" y="41"/>
                    </a:lnTo>
                    <a:lnTo>
                      <a:pt x="2" y="43"/>
                    </a:lnTo>
                    <a:lnTo>
                      <a:pt x="1" y="47"/>
                    </a:lnTo>
                    <a:lnTo>
                      <a:pt x="0" y="49"/>
                    </a:lnTo>
                    <a:lnTo>
                      <a:pt x="0" y="52"/>
                    </a:lnTo>
                    <a:lnTo>
                      <a:pt x="0" y="55"/>
                    </a:lnTo>
                    <a:lnTo>
                      <a:pt x="1" y="57"/>
                    </a:lnTo>
                    <a:lnTo>
                      <a:pt x="2" y="61"/>
                    </a:lnTo>
                    <a:lnTo>
                      <a:pt x="4" y="63"/>
                    </a:lnTo>
                    <a:lnTo>
                      <a:pt x="61" y="119"/>
                    </a:lnTo>
                    <a:lnTo>
                      <a:pt x="63" y="122"/>
                    </a:lnTo>
                    <a:lnTo>
                      <a:pt x="66" y="123"/>
                    </a:lnTo>
                    <a:lnTo>
                      <a:pt x="68" y="124"/>
                    </a:lnTo>
                    <a:lnTo>
                      <a:pt x="71" y="124"/>
                    </a:lnTo>
                    <a:lnTo>
                      <a:pt x="74" y="124"/>
                    </a:lnTo>
                    <a:lnTo>
                      <a:pt x="77" y="123"/>
                    </a:lnTo>
                    <a:lnTo>
                      <a:pt x="80" y="122"/>
                    </a:lnTo>
                    <a:lnTo>
                      <a:pt x="82" y="119"/>
                    </a:lnTo>
                    <a:lnTo>
                      <a:pt x="176" y="25"/>
                    </a:lnTo>
                    <a:lnTo>
                      <a:pt x="178" y="23"/>
                    </a:lnTo>
                    <a:lnTo>
                      <a:pt x="180" y="20"/>
                    </a:lnTo>
                    <a:lnTo>
                      <a:pt x="180" y="18"/>
                    </a:lnTo>
                    <a:lnTo>
                      <a:pt x="181" y="14"/>
                    </a:lnTo>
                    <a:lnTo>
                      <a:pt x="180" y="11"/>
                    </a:lnTo>
                    <a:lnTo>
                      <a:pt x="180" y="9"/>
                    </a:lnTo>
                    <a:lnTo>
                      <a:pt x="178" y="6"/>
                    </a:lnTo>
                    <a:lnTo>
                      <a:pt x="176" y="4"/>
                    </a:lnTo>
                    <a:lnTo>
                      <a:pt x="174" y="2"/>
                    </a:lnTo>
                    <a:lnTo>
                      <a:pt x="172" y="1"/>
                    </a:lnTo>
                    <a:lnTo>
                      <a:pt x="169" y="0"/>
                    </a:lnTo>
                    <a:lnTo>
                      <a:pt x="166" y="0"/>
                    </a:lnTo>
                    <a:lnTo>
                      <a:pt x="163" y="0"/>
                    </a:lnTo>
                    <a:lnTo>
                      <a:pt x="160" y="1"/>
                    </a:lnTo>
                    <a:lnTo>
                      <a:pt x="158" y="2"/>
                    </a:lnTo>
                    <a:lnTo>
                      <a:pt x="156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186">
                <a:extLst>
                  <a:ext uri="{FF2B5EF4-FFF2-40B4-BE49-F238E27FC236}">
                    <a16:creationId xmlns:a16="http://schemas.microsoft.com/office/drawing/2014/main" id="{01F5C306-1EAB-464D-81AD-C853A9A849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9325" y="1558926"/>
                <a:ext cx="57150" cy="39688"/>
              </a:xfrm>
              <a:custGeom>
                <a:avLst/>
                <a:gdLst>
                  <a:gd name="T0" fmla="*/ 156 w 181"/>
                  <a:gd name="T1" fmla="*/ 5 h 126"/>
                  <a:gd name="T2" fmla="*/ 71 w 181"/>
                  <a:gd name="T3" fmla="*/ 88 h 126"/>
                  <a:gd name="T4" fmla="*/ 25 w 181"/>
                  <a:gd name="T5" fmla="*/ 43 h 126"/>
                  <a:gd name="T6" fmla="*/ 23 w 181"/>
                  <a:gd name="T7" fmla="*/ 41 h 126"/>
                  <a:gd name="T8" fmla="*/ 20 w 181"/>
                  <a:gd name="T9" fmla="*/ 40 h 126"/>
                  <a:gd name="T10" fmla="*/ 18 w 181"/>
                  <a:gd name="T11" fmla="*/ 39 h 126"/>
                  <a:gd name="T12" fmla="*/ 15 w 181"/>
                  <a:gd name="T13" fmla="*/ 39 h 126"/>
                  <a:gd name="T14" fmla="*/ 11 w 181"/>
                  <a:gd name="T15" fmla="*/ 39 h 126"/>
                  <a:gd name="T16" fmla="*/ 9 w 181"/>
                  <a:gd name="T17" fmla="*/ 40 h 126"/>
                  <a:gd name="T18" fmla="*/ 6 w 181"/>
                  <a:gd name="T19" fmla="*/ 41 h 126"/>
                  <a:gd name="T20" fmla="*/ 4 w 181"/>
                  <a:gd name="T21" fmla="*/ 43 h 126"/>
                  <a:gd name="T22" fmla="*/ 2 w 181"/>
                  <a:gd name="T23" fmla="*/ 46 h 126"/>
                  <a:gd name="T24" fmla="*/ 1 w 181"/>
                  <a:gd name="T25" fmla="*/ 49 h 126"/>
                  <a:gd name="T26" fmla="*/ 0 w 181"/>
                  <a:gd name="T27" fmla="*/ 51 h 126"/>
                  <a:gd name="T28" fmla="*/ 0 w 181"/>
                  <a:gd name="T29" fmla="*/ 54 h 126"/>
                  <a:gd name="T30" fmla="*/ 0 w 181"/>
                  <a:gd name="T31" fmla="*/ 57 h 126"/>
                  <a:gd name="T32" fmla="*/ 1 w 181"/>
                  <a:gd name="T33" fmla="*/ 60 h 126"/>
                  <a:gd name="T34" fmla="*/ 2 w 181"/>
                  <a:gd name="T35" fmla="*/ 63 h 126"/>
                  <a:gd name="T36" fmla="*/ 4 w 181"/>
                  <a:gd name="T37" fmla="*/ 65 h 126"/>
                  <a:gd name="T38" fmla="*/ 61 w 181"/>
                  <a:gd name="T39" fmla="*/ 122 h 126"/>
                  <a:gd name="T40" fmla="*/ 63 w 181"/>
                  <a:gd name="T41" fmla="*/ 124 h 126"/>
                  <a:gd name="T42" fmla="*/ 66 w 181"/>
                  <a:gd name="T43" fmla="*/ 125 h 126"/>
                  <a:gd name="T44" fmla="*/ 68 w 181"/>
                  <a:gd name="T45" fmla="*/ 126 h 126"/>
                  <a:gd name="T46" fmla="*/ 71 w 181"/>
                  <a:gd name="T47" fmla="*/ 126 h 126"/>
                  <a:gd name="T48" fmla="*/ 74 w 181"/>
                  <a:gd name="T49" fmla="*/ 126 h 126"/>
                  <a:gd name="T50" fmla="*/ 77 w 181"/>
                  <a:gd name="T51" fmla="*/ 125 h 126"/>
                  <a:gd name="T52" fmla="*/ 80 w 181"/>
                  <a:gd name="T53" fmla="*/ 124 h 126"/>
                  <a:gd name="T54" fmla="*/ 82 w 181"/>
                  <a:gd name="T55" fmla="*/ 122 h 126"/>
                  <a:gd name="T56" fmla="*/ 176 w 181"/>
                  <a:gd name="T57" fmla="*/ 27 h 126"/>
                  <a:gd name="T58" fmla="*/ 178 w 181"/>
                  <a:gd name="T59" fmla="*/ 24 h 126"/>
                  <a:gd name="T60" fmla="*/ 180 w 181"/>
                  <a:gd name="T61" fmla="*/ 22 h 126"/>
                  <a:gd name="T62" fmla="*/ 180 w 181"/>
                  <a:gd name="T63" fmla="*/ 19 h 126"/>
                  <a:gd name="T64" fmla="*/ 181 w 181"/>
                  <a:gd name="T65" fmla="*/ 16 h 126"/>
                  <a:gd name="T66" fmla="*/ 180 w 181"/>
                  <a:gd name="T67" fmla="*/ 12 h 126"/>
                  <a:gd name="T68" fmla="*/ 180 w 181"/>
                  <a:gd name="T69" fmla="*/ 10 h 126"/>
                  <a:gd name="T70" fmla="*/ 178 w 181"/>
                  <a:gd name="T71" fmla="*/ 7 h 126"/>
                  <a:gd name="T72" fmla="*/ 176 w 181"/>
                  <a:gd name="T73" fmla="*/ 5 h 126"/>
                  <a:gd name="T74" fmla="*/ 174 w 181"/>
                  <a:gd name="T75" fmla="*/ 3 h 126"/>
                  <a:gd name="T76" fmla="*/ 172 w 181"/>
                  <a:gd name="T77" fmla="*/ 2 h 126"/>
                  <a:gd name="T78" fmla="*/ 169 w 181"/>
                  <a:gd name="T79" fmla="*/ 1 h 126"/>
                  <a:gd name="T80" fmla="*/ 166 w 181"/>
                  <a:gd name="T81" fmla="*/ 0 h 126"/>
                  <a:gd name="T82" fmla="*/ 163 w 181"/>
                  <a:gd name="T83" fmla="*/ 1 h 126"/>
                  <a:gd name="T84" fmla="*/ 160 w 181"/>
                  <a:gd name="T85" fmla="*/ 2 h 126"/>
                  <a:gd name="T86" fmla="*/ 158 w 181"/>
                  <a:gd name="T87" fmla="*/ 3 h 126"/>
                  <a:gd name="T88" fmla="*/ 156 w 181"/>
                  <a:gd name="T89" fmla="*/ 5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81" h="126">
                    <a:moveTo>
                      <a:pt x="156" y="5"/>
                    </a:moveTo>
                    <a:lnTo>
                      <a:pt x="71" y="88"/>
                    </a:lnTo>
                    <a:lnTo>
                      <a:pt x="25" y="43"/>
                    </a:lnTo>
                    <a:lnTo>
                      <a:pt x="23" y="41"/>
                    </a:lnTo>
                    <a:lnTo>
                      <a:pt x="20" y="40"/>
                    </a:lnTo>
                    <a:lnTo>
                      <a:pt x="18" y="39"/>
                    </a:lnTo>
                    <a:lnTo>
                      <a:pt x="15" y="39"/>
                    </a:lnTo>
                    <a:lnTo>
                      <a:pt x="11" y="39"/>
                    </a:lnTo>
                    <a:lnTo>
                      <a:pt x="9" y="40"/>
                    </a:lnTo>
                    <a:lnTo>
                      <a:pt x="6" y="41"/>
                    </a:lnTo>
                    <a:lnTo>
                      <a:pt x="4" y="43"/>
                    </a:lnTo>
                    <a:lnTo>
                      <a:pt x="2" y="46"/>
                    </a:lnTo>
                    <a:lnTo>
                      <a:pt x="1" y="49"/>
                    </a:lnTo>
                    <a:lnTo>
                      <a:pt x="0" y="51"/>
                    </a:lnTo>
                    <a:lnTo>
                      <a:pt x="0" y="54"/>
                    </a:lnTo>
                    <a:lnTo>
                      <a:pt x="0" y="57"/>
                    </a:lnTo>
                    <a:lnTo>
                      <a:pt x="1" y="60"/>
                    </a:lnTo>
                    <a:lnTo>
                      <a:pt x="2" y="63"/>
                    </a:lnTo>
                    <a:lnTo>
                      <a:pt x="4" y="65"/>
                    </a:lnTo>
                    <a:lnTo>
                      <a:pt x="61" y="122"/>
                    </a:lnTo>
                    <a:lnTo>
                      <a:pt x="63" y="124"/>
                    </a:lnTo>
                    <a:lnTo>
                      <a:pt x="66" y="125"/>
                    </a:lnTo>
                    <a:lnTo>
                      <a:pt x="68" y="126"/>
                    </a:lnTo>
                    <a:lnTo>
                      <a:pt x="71" y="126"/>
                    </a:lnTo>
                    <a:lnTo>
                      <a:pt x="74" y="126"/>
                    </a:lnTo>
                    <a:lnTo>
                      <a:pt x="77" y="125"/>
                    </a:lnTo>
                    <a:lnTo>
                      <a:pt x="80" y="124"/>
                    </a:lnTo>
                    <a:lnTo>
                      <a:pt x="82" y="122"/>
                    </a:lnTo>
                    <a:lnTo>
                      <a:pt x="176" y="27"/>
                    </a:lnTo>
                    <a:lnTo>
                      <a:pt x="178" y="24"/>
                    </a:lnTo>
                    <a:lnTo>
                      <a:pt x="180" y="22"/>
                    </a:lnTo>
                    <a:lnTo>
                      <a:pt x="180" y="19"/>
                    </a:lnTo>
                    <a:lnTo>
                      <a:pt x="181" y="16"/>
                    </a:lnTo>
                    <a:lnTo>
                      <a:pt x="180" y="12"/>
                    </a:lnTo>
                    <a:lnTo>
                      <a:pt x="180" y="10"/>
                    </a:lnTo>
                    <a:lnTo>
                      <a:pt x="178" y="7"/>
                    </a:lnTo>
                    <a:lnTo>
                      <a:pt x="176" y="5"/>
                    </a:lnTo>
                    <a:lnTo>
                      <a:pt x="174" y="3"/>
                    </a:lnTo>
                    <a:lnTo>
                      <a:pt x="172" y="2"/>
                    </a:lnTo>
                    <a:lnTo>
                      <a:pt x="169" y="1"/>
                    </a:lnTo>
                    <a:lnTo>
                      <a:pt x="166" y="0"/>
                    </a:lnTo>
                    <a:lnTo>
                      <a:pt x="163" y="1"/>
                    </a:lnTo>
                    <a:lnTo>
                      <a:pt x="160" y="2"/>
                    </a:lnTo>
                    <a:lnTo>
                      <a:pt x="158" y="3"/>
                    </a:lnTo>
                    <a:lnTo>
                      <a:pt x="156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E52E996-B5B0-485A-A0D9-718F199645FA}"/>
              </a:ext>
            </a:extLst>
          </p:cNvPr>
          <p:cNvSpPr txBox="1"/>
          <p:nvPr/>
        </p:nvSpPr>
        <p:spPr>
          <a:xfrm>
            <a:off x="182479" y="322848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b="1">
                <a:solidFill>
                  <a:schemeClr val="bg1">
                    <a:lumMod val="50000"/>
                  </a:schemeClr>
                </a:solidFill>
                <a:latin typeface="Malgun Gothic"/>
                <a:ea typeface="Malgun Gothic"/>
              </a:rPr>
              <a:t>이런 점이 아쉬워요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0941AE-E19B-4B4B-9B85-CF9924FEAEC8}"/>
              </a:ext>
            </a:extLst>
          </p:cNvPr>
          <p:cNvSpPr txBox="1"/>
          <p:nvPr/>
        </p:nvSpPr>
        <p:spPr>
          <a:xfrm>
            <a:off x="2165685" y="1297807"/>
            <a:ext cx="2743200" cy="338554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1600">
                <a:solidFill>
                  <a:schemeClr val="bg1"/>
                </a:solidFill>
                <a:latin typeface="Malgun Gothic"/>
                <a:ea typeface="Malgun Gothic"/>
              </a:rPr>
              <a:t> 강의 수강생 </a:t>
            </a:r>
            <a:r>
              <a:rPr lang="ko-KR" altLang="en-US" sz="1600" err="1">
                <a:solidFill>
                  <a:schemeClr val="bg1"/>
                </a:solidFill>
                <a:latin typeface="Malgun Gothic"/>
                <a:ea typeface="Malgun Gothic"/>
              </a:rPr>
              <a:t>A씨</a:t>
            </a:r>
            <a:endParaRPr lang="ko-KR" altLang="en-US" sz="1600">
              <a:solidFill>
                <a:schemeClr val="bg1"/>
              </a:solidFill>
              <a:latin typeface="Malgun Gothic"/>
              <a:ea typeface="Malgun Gothic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4CF4E0E2-75CE-4EB0-A57E-0C75E71A2D1E}"/>
              </a:ext>
            </a:extLst>
          </p:cNvPr>
          <p:cNvSpPr txBox="1"/>
          <p:nvPr/>
        </p:nvSpPr>
        <p:spPr>
          <a:xfrm>
            <a:off x="5137485" y="3065647"/>
            <a:ext cx="2743200" cy="338554"/>
          </a:xfrm>
          <a:prstGeom prst="rect">
            <a:avLst/>
          </a:prstGeom>
          <a:solidFill>
            <a:schemeClr val="accent5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1600">
                <a:solidFill>
                  <a:schemeClr val="bg1"/>
                </a:solidFill>
                <a:latin typeface="Malgun Gothic"/>
                <a:ea typeface="Malgun Gothic"/>
              </a:rPr>
              <a:t>초보 프로그래머 </a:t>
            </a:r>
            <a:r>
              <a:rPr lang="ko-KR" altLang="en-US" sz="1600" err="1">
                <a:solidFill>
                  <a:schemeClr val="bg1"/>
                </a:solidFill>
                <a:latin typeface="Malgun Gothic"/>
                <a:ea typeface="Malgun Gothic"/>
              </a:rPr>
              <a:t>B씨</a:t>
            </a:r>
            <a:endParaRPr lang="ko-KR" err="1">
              <a:solidFill>
                <a:schemeClr val="bg1"/>
              </a:solidFill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7F99DA6C-3999-4A8D-923A-41F70D873DFF}"/>
              </a:ext>
            </a:extLst>
          </p:cNvPr>
          <p:cNvSpPr txBox="1"/>
          <p:nvPr/>
        </p:nvSpPr>
        <p:spPr>
          <a:xfrm>
            <a:off x="8109283" y="4841107"/>
            <a:ext cx="2743200" cy="338554"/>
          </a:xfrm>
          <a:prstGeom prst="rect">
            <a:avLst/>
          </a:prstGeom>
          <a:solidFill>
            <a:schemeClr val="accent3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1600">
                <a:solidFill>
                  <a:schemeClr val="bg1"/>
                </a:solidFill>
                <a:latin typeface="Malgun Gothic"/>
                <a:ea typeface="Malgun Gothic"/>
              </a:rPr>
              <a:t>채용 담당자 </a:t>
            </a:r>
            <a:r>
              <a:rPr lang="ko-KR" altLang="en-US" sz="1600" err="1">
                <a:solidFill>
                  <a:schemeClr val="bg1"/>
                </a:solidFill>
                <a:latin typeface="Malgun Gothic"/>
                <a:ea typeface="Malgun Gothic"/>
              </a:rPr>
              <a:t>C씨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A7E5D96-32DE-48E2-9147-C69928EDBF07}"/>
              </a:ext>
            </a:extLst>
          </p:cNvPr>
          <p:cNvSpPr txBox="1"/>
          <p:nvPr/>
        </p:nvSpPr>
        <p:spPr>
          <a:xfrm>
            <a:off x="2162777" y="1853965"/>
            <a:ext cx="2563128" cy="523220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1400">
                <a:latin typeface="Malgun Gothic"/>
                <a:ea typeface="Malgun Gothic"/>
              </a:rPr>
              <a:t>내가 찾고 싶은 키워드로 강의를 검색해서 보고 싶어</a:t>
            </a:r>
            <a:endParaRPr lang="ko-KR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7A042FF-0A95-4741-A3A1-CF2A9595D31C}"/>
              </a:ext>
            </a:extLst>
          </p:cNvPr>
          <p:cNvSpPr txBox="1"/>
          <p:nvPr/>
        </p:nvSpPr>
        <p:spPr>
          <a:xfrm>
            <a:off x="5140591" y="3536380"/>
            <a:ext cx="2562725" cy="738664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1400" dirty="0">
                <a:latin typeface="Malgun Gothic"/>
                <a:ea typeface="Malgun Gothic"/>
              </a:rPr>
              <a:t>초보자도 쉽게 </a:t>
            </a:r>
            <a:r>
              <a:rPr lang="ko-KR" altLang="en-US" sz="1400" dirty="0" err="1">
                <a:latin typeface="Malgun Gothic"/>
                <a:ea typeface="Malgun Gothic"/>
              </a:rPr>
              <a:t>알수</a:t>
            </a:r>
            <a:r>
              <a:rPr lang="ko-KR" altLang="en-US" sz="1400" dirty="0">
                <a:latin typeface="Malgun Gothic"/>
                <a:ea typeface="Malgun Gothic"/>
              </a:rPr>
              <a:t> 있도록</a:t>
            </a:r>
            <a:endParaRPr lang="ko-KR" dirty="0" err="1">
              <a:latin typeface="Rockwell" panose="02060603020205020403"/>
              <a:ea typeface="바탕" panose="02030600000101010101" pitchFamily="18" charset="-127"/>
            </a:endParaRPr>
          </a:p>
          <a:p>
            <a:pPr algn="ctr"/>
            <a:r>
              <a:rPr lang="ko-KR" altLang="en-US" sz="1400" dirty="0">
                <a:latin typeface="Malgun Gothic"/>
                <a:ea typeface="Malgun Gothic"/>
              </a:rPr>
              <a:t>강의 분류가 되어 있었으면 </a:t>
            </a:r>
            <a:r>
              <a:rPr lang="ko-KR" altLang="en-US" sz="1400" dirty="0" err="1">
                <a:latin typeface="Malgun Gothic"/>
                <a:ea typeface="Malgun Gothic"/>
              </a:rPr>
              <a:t>좋겠어</a:t>
            </a:r>
            <a:endParaRPr lang="ko-KR">
              <a:ea typeface="바탕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176F504-B7B7-4C6A-8F5C-86330562AFE4}"/>
              </a:ext>
            </a:extLst>
          </p:cNvPr>
          <p:cNvSpPr txBox="1"/>
          <p:nvPr/>
        </p:nvSpPr>
        <p:spPr>
          <a:xfrm>
            <a:off x="8095548" y="5303418"/>
            <a:ext cx="2535055" cy="738664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1400" dirty="0">
                <a:latin typeface="Malgun Gothic"/>
                <a:ea typeface="Malgun Gothic"/>
              </a:rPr>
              <a:t>코딩 테스트는 문제 출제도 채점도 번거로워</a:t>
            </a:r>
            <a:endParaRPr lang="ko-KR" dirty="0">
              <a:latin typeface="Rockwell" panose="02060603020205020403"/>
              <a:ea typeface="바탕" panose="02030600000101010101" pitchFamily="18" charset="-127"/>
            </a:endParaRPr>
          </a:p>
          <a:p>
            <a:pPr algn="ctr"/>
            <a:r>
              <a:rPr lang="ko-KR" altLang="en-US" sz="1400" dirty="0">
                <a:latin typeface="Malgun Gothic"/>
                <a:ea typeface="Malgun Gothic"/>
              </a:rPr>
              <a:t>간편한 방법 없을까?</a:t>
            </a:r>
            <a:endParaRPr lang="ko-KR">
              <a:ea typeface="바탕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72667E7-E54D-481C-9A47-3305AAA92C20}"/>
              </a:ext>
            </a:extLst>
          </p:cNvPr>
          <p:cNvSpPr/>
          <p:nvPr/>
        </p:nvSpPr>
        <p:spPr>
          <a:xfrm>
            <a:off x="755985" y="1427748"/>
            <a:ext cx="912394" cy="91239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7F3B97-D8FF-4B9D-8FB7-C035CF220E9F}"/>
              </a:ext>
            </a:extLst>
          </p:cNvPr>
          <p:cNvSpPr/>
          <p:nvPr/>
        </p:nvSpPr>
        <p:spPr>
          <a:xfrm>
            <a:off x="3683669" y="3182353"/>
            <a:ext cx="912394" cy="9123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7980579-ADDC-4F33-89D7-6E1F9EE3C0D7}"/>
              </a:ext>
            </a:extLst>
          </p:cNvPr>
          <p:cNvSpPr/>
          <p:nvPr/>
        </p:nvSpPr>
        <p:spPr>
          <a:xfrm>
            <a:off x="6623886" y="4969543"/>
            <a:ext cx="912394" cy="91239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9FD914D-A4E7-4DF4-86F3-59BC51791C5F}"/>
              </a:ext>
            </a:extLst>
          </p:cNvPr>
          <p:cNvSpPr/>
          <p:nvPr/>
        </p:nvSpPr>
        <p:spPr>
          <a:xfrm>
            <a:off x="4967037" y="1989220"/>
            <a:ext cx="511342" cy="5715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47E7367-68EC-4BCC-97ED-0ADBE25B69B9}"/>
              </a:ext>
            </a:extLst>
          </p:cNvPr>
          <p:cNvGrpSpPr/>
          <p:nvPr/>
        </p:nvGrpSpPr>
        <p:grpSpPr>
          <a:xfrm>
            <a:off x="5089714" y="2128790"/>
            <a:ext cx="284162" cy="263525"/>
            <a:chOff x="9888538" y="2498726"/>
            <a:chExt cx="284162" cy="263525"/>
          </a:xfrm>
          <a:solidFill>
            <a:schemeClr val="bg1"/>
          </a:solidFill>
        </p:grpSpPr>
        <p:sp>
          <p:nvSpPr>
            <p:cNvPr id="99" name="Freeform 274">
              <a:extLst>
                <a:ext uri="{FF2B5EF4-FFF2-40B4-BE49-F238E27FC236}">
                  <a16:creationId xmlns:a16="http://schemas.microsoft.com/office/drawing/2014/main" id="{205A23DA-0EF2-44BA-AE93-0F2BD57E76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88538" y="2498726"/>
              <a:ext cx="284162" cy="263525"/>
            </a:xfrm>
            <a:custGeom>
              <a:avLst/>
              <a:gdLst>
                <a:gd name="T0" fmla="*/ 573 w 896"/>
                <a:gd name="T1" fmla="*/ 758 h 829"/>
                <a:gd name="T2" fmla="*/ 509 w 896"/>
                <a:gd name="T3" fmla="*/ 637 h 829"/>
                <a:gd name="T4" fmla="*/ 549 w 896"/>
                <a:gd name="T5" fmla="*/ 506 h 829"/>
                <a:gd name="T6" fmla="*/ 670 w 896"/>
                <a:gd name="T7" fmla="*/ 441 h 829"/>
                <a:gd name="T8" fmla="*/ 801 w 896"/>
                <a:gd name="T9" fmla="*/ 481 h 829"/>
                <a:gd name="T10" fmla="*/ 867 w 896"/>
                <a:gd name="T11" fmla="*/ 601 h 829"/>
                <a:gd name="T12" fmla="*/ 826 w 896"/>
                <a:gd name="T13" fmla="*/ 734 h 829"/>
                <a:gd name="T14" fmla="*/ 706 w 896"/>
                <a:gd name="T15" fmla="*/ 798 h 829"/>
                <a:gd name="T16" fmla="*/ 109 w 896"/>
                <a:gd name="T17" fmla="*/ 768 h 829"/>
                <a:gd name="T18" fmla="*/ 33 w 896"/>
                <a:gd name="T19" fmla="*/ 655 h 829"/>
                <a:gd name="T20" fmla="*/ 61 w 896"/>
                <a:gd name="T21" fmla="*/ 520 h 829"/>
                <a:gd name="T22" fmla="*/ 173 w 896"/>
                <a:gd name="T23" fmla="*/ 444 h 829"/>
                <a:gd name="T24" fmla="*/ 309 w 896"/>
                <a:gd name="T25" fmla="*/ 471 h 829"/>
                <a:gd name="T26" fmla="*/ 385 w 896"/>
                <a:gd name="T27" fmla="*/ 583 h 829"/>
                <a:gd name="T28" fmla="*/ 358 w 896"/>
                <a:gd name="T29" fmla="*/ 720 h 829"/>
                <a:gd name="T30" fmla="*/ 245 w 896"/>
                <a:gd name="T31" fmla="*/ 795 h 829"/>
                <a:gd name="T32" fmla="*/ 744 w 896"/>
                <a:gd name="T33" fmla="*/ 235 h 829"/>
                <a:gd name="T34" fmla="*/ 596 w 896"/>
                <a:gd name="T35" fmla="*/ 8 h 829"/>
                <a:gd name="T36" fmla="*/ 516 w 896"/>
                <a:gd name="T37" fmla="*/ 8 h 829"/>
                <a:gd name="T38" fmla="*/ 478 w 896"/>
                <a:gd name="T39" fmla="*/ 36 h 829"/>
                <a:gd name="T40" fmla="*/ 490 w 896"/>
                <a:gd name="T41" fmla="*/ 201 h 829"/>
                <a:gd name="T42" fmla="*/ 508 w 896"/>
                <a:gd name="T43" fmla="*/ 189 h 829"/>
                <a:gd name="T44" fmla="*/ 557 w 896"/>
                <a:gd name="T45" fmla="*/ 31 h 829"/>
                <a:gd name="T46" fmla="*/ 660 w 896"/>
                <a:gd name="T47" fmla="*/ 195 h 829"/>
                <a:gd name="T48" fmla="*/ 735 w 896"/>
                <a:gd name="T49" fmla="*/ 416 h 829"/>
                <a:gd name="T50" fmla="*/ 619 w 896"/>
                <a:gd name="T51" fmla="*/ 421 h 829"/>
                <a:gd name="T52" fmla="*/ 532 w 896"/>
                <a:gd name="T53" fmla="*/ 480 h 829"/>
                <a:gd name="T54" fmla="*/ 563 w 896"/>
                <a:gd name="T55" fmla="*/ 320 h 829"/>
                <a:gd name="T56" fmla="*/ 584 w 896"/>
                <a:gd name="T57" fmla="*/ 356 h 829"/>
                <a:gd name="T58" fmla="*/ 603 w 896"/>
                <a:gd name="T59" fmla="*/ 365 h 829"/>
                <a:gd name="T60" fmla="*/ 610 w 896"/>
                <a:gd name="T61" fmla="*/ 332 h 829"/>
                <a:gd name="T62" fmla="*/ 541 w 896"/>
                <a:gd name="T63" fmla="*/ 276 h 829"/>
                <a:gd name="T64" fmla="*/ 414 w 896"/>
                <a:gd name="T65" fmla="*/ 263 h 829"/>
                <a:gd name="T66" fmla="*/ 311 w 896"/>
                <a:gd name="T67" fmla="*/ 299 h 829"/>
                <a:gd name="T68" fmla="*/ 286 w 896"/>
                <a:gd name="T69" fmla="*/ 356 h 829"/>
                <a:gd name="T70" fmla="*/ 305 w 896"/>
                <a:gd name="T71" fmla="*/ 365 h 829"/>
                <a:gd name="T72" fmla="*/ 316 w 896"/>
                <a:gd name="T73" fmla="*/ 342 h 829"/>
                <a:gd name="T74" fmla="*/ 388 w 896"/>
                <a:gd name="T75" fmla="*/ 297 h 829"/>
                <a:gd name="T76" fmla="*/ 325 w 896"/>
                <a:gd name="T77" fmla="*/ 446 h 829"/>
                <a:gd name="T78" fmla="*/ 224 w 896"/>
                <a:gd name="T79" fmla="*/ 411 h 829"/>
                <a:gd name="T80" fmla="*/ 105 w 896"/>
                <a:gd name="T81" fmla="*/ 438 h 829"/>
                <a:gd name="T82" fmla="*/ 306 w 896"/>
                <a:gd name="T83" fmla="*/ 39 h 829"/>
                <a:gd name="T84" fmla="*/ 379 w 896"/>
                <a:gd name="T85" fmla="*/ 37 h 829"/>
                <a:gd name="T86" fmla="*/ 396 w 896"/>
                <a:gd name="T87" fmla="*/ 199 h 829"/>
                <a:gd name="T88" fmla="*/ 416 w 896"/>
                <a:gd name="T89" fmla="*/ 195 h 829"/>
                <a:gd name="T90" fmla="*/ 414 w 896"/>
                <a:gd name="T91" fmla="*/ 26 h 829"/>
                <a:gd name="T92" fmla="*/ 343 w 896"/>
                <a:gd name="T93" fmla="*/ 0 h 829"/>
                <a:gd name="T94" fmla="*/ 274 w 896"/>
                <a:gd name="T95" fmla="*/ 26 h 829"/>
                <a:gd name="T96" fmla="*/ 31 w 896"/>
                <a:gd name="T97" fmla="*/ 510 h 829"/>
                <a:gd name="T98" fmla="*/ 1 w 896"/>
                <a:gd name="T99" fmla="*/ 604 h 829"/>
                <a:gd name="T100" fmla="*/ 26 w 896"/>
                <a:gd name="T101" fmla="*/ 719 h 829"/>
                <a:gd name="T102" fmla="*/ 148 w 896"/>
                <a:gd name="T103" fmla="*/ 819 h 829"/>
                <a:gd name="T104" fmla="*/ 272 w 896"/>
                <a:gd name="T105" fmla="*/ 819 h 829"/>
                <a:gd name="T106" fmla="*/ 394 w 896"/>
                <a:gd name="T107" fmla="*/ 719 h 829"/>
                <a:gd name="T108" fmla="*/ 418 w 896"/>
                <a:gd name="T109" fmla="*/ 292 h 829"/>
                <a:gd name="T110" fmla="*/ 480 w 896"/>
                <a:gd name="T111" fmla="*/ 651 h 829"/>
                <a:gd name="T112" fmla="*/ 554 w 896"/>
                <a:gd name="T113" fmla="*/ 781 h 829"/>
                <a:gd name="T114" fmla="*/ 677 w 896"/>
                <a:gd name="T115" fmla="*/ 829 h 829"/>
                <a:gd name="T116" fmla="*/ 821 w 896"/>
                <a:gd name="T117" fmla="*/ 781 h 829"/>
                <a:gd name="T118" fmla="*/ 894 w 896"/>
                <a:gd name="T119" fmla="*/ 651 h 829"/>
                <a:gd name="T120" fmla="*/ 885 w 896"/>
                <a:gd name="T121" fmla="*/ 549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6" h="829">
                  <a:moveTo>
                    <a:pt x="688" y="799"/>
                  </a:moveTo>
                  <a:lnTo>
                    <a:pt x="670" y="798"/>
                  </a:lnTo>
                  <a:lnTo>
                    <a:pt x="652" y="795"/>
                  </a:lnTo>
                  <a:lnTo>
                    <a:pt x="634" y="790"/>
                  </a:lnTo>
                  <a:lnTo>
                    <a:pt x="618" y="785"/>
                  </a:lnTo>
                  <a:lnTo>
                    <a:pt x="602" y="777"/>
                  </a:lnTo>
                  <a:lnTo>
                    <a:pt x="587" y="768"/>
                  </a:lnTo>
                  <a:lnTo>
                    <a:pt x="573" y="758"/>
                  </a:lnTo>
                  <a:lnTo>
                    <a:pt x="561" y="746"/>
                  </a:lnTo>
                  <a:lnTo>
                    <a:pt x="549" y="734"/>
                  </a:lnTo>
                  <a:lnTo>
                    <a:pt x="539" y="720"/>
                  </a:lnTo>
                  <a:lnTo>
                    <a:pt x="530" y="705"/>
                  </a:lnTo>
                  <a:lnTo>
                    <a:pt x="522" y="689"/>
                  </a:lnTo>
                  <a:lnTo>
                    <a:pt x="517" y="673"/>
                  </a:lnTo>
                  <a:lnTo>
                    <a:pt x="512" y="655"/>
                  </a:lnTo>
                  <a:lnTo>
                    <a:pt x="509" y="637"/>
                  </a:lnTo>
                  <a:lnTo>
                    <a:pt x="508" y="619"/>
                  </a:lnTo>
                  <a:lnTo>
                    <a:pt x="509" y="601"/>
                  </a:lnTo>
                  <a:lnTo>
                    <a:pt x="512" y="583"/>
                  </a:lnTo>
                  <a:lnTo>
                    <a:pt x="517" y="566"/>
                  </a:lnTo>
                  <a:lnTo>
                    <a:pt x="522" y="550"/>
                  </a:lnTo>
                  <a:lnTo>
                    <a:pt x="530" y="534"/>
                  </a:lnTo>
                  <a:lnTo>
                    <a:pt x="539" y="520"/>
                  </a:lnTo>
                  <a:lnTo>
                    <a:pt x="549" y="506"/>
                  </a:lnTo>
                  <a:lnTo>
                    <a:pt x="561" y="493"/>
                  </a:lnTo>
                  <a:lnTo>
                    <a:pt x="573" y="481"/>
                  </a:lnTo>
                  <a:lnTo>
                    <a:pt x="587" y="471"/>
                  </a:lnTo>
                  <a:lnTo>
                    <a:pt x="602" y="462"/>
                  </a:lnTo>
                  <a:lnTo>
                    <a:pt x="618" y="454"/>
                  </a:lnTo>
                  <a:lnTo>
                    <a:pt x="634" y="448"/>
                  </a:lnTo>
                  <a:lnTo>
                    <a:pt x="652" y="444"/>
                  </a:lnTo>
                  <a:lnTo>
                    <a:pt x="670" y="441"/>
                  </a:lnTo>
                  <a:lnTo>
                    <a:pt x="688" y="441"/>
                  </a:lnTo>
                  <a:lnTo>
                    <a:pt x="706" y="441"/>
                  </a:lnTo>
                  <a:lnTo>
                    <a:pt x="724" y="444"/>
                  </a:lnTo>
                  <a:lnTo>
                    <a:pt x="741" y="448"/>
                  </a:lnTo>
                  <a:lnTo>
                    <a:pt x="757" y="454"/>
                  </a:lnTo>
                  <a:lnTo>
                    <a:pt x="773" y="462"/>
                  </a:lnTo>
                  <a:lnTo>
                    <a:pt x="787" y="471"/>
                  </a:lnTo>
                  <a:lnTo>
                    <a:pt x="801" y="481"/>
                  </a:lnTo>
                  <a:lnTo>
                    <a:pt x="814" y="493"/>
                  </a:lnTo>
                  <a:lnTo>
                    <a:pt x="826" y="506"/>
                  </a:lnTo>
                  <a:lnTo>
                    <a:pt x="837" y="520"/>
                  </a:lnTo>
                  <a:lnTo>
                    <a:pt x="845" y="534"/>
                  </a:lnTo>
                  <a:lnTo>
                    <a:pt x="853" y="550"/>
                  </a:lnTo>
                  <a:lnTo>
                    <a:pt x="859" y="566"/>
                  </a:lnTo>
                  <a:lnTo>
                    <a:pt x="863" y="583"/>
                  </a:lnTo>
                  <a:lnTo>
                    <a:pt x="867" y="601"/>
                  </a:lnTo>
                  <a:lnTo>
                    <a:pt x="867" y="619"/>
                  </a:lnTo>
                  <a:lnTo>
                    <a:pt x="867" y="637"/>
                  </a:lnTo>
                  <a:lnTo>
                    <a:pt x="863" y="655"/>
                  </a:lnTo>
                  <a:lnTo>
                    <a:pt x="859" y="673"/>
                  </a:lnTo>
                  <a:lnTo>
                    <a:pt x="853" y="689"/>
                  </a:lnTo>
                  <a:lnTo>
                    <a:pt x="845" y="705"/>
                  </a:lnTo>
                  <a:lnTo>
                    <a:pt x="837" y="720"/>
                  </a:lnTo>
                  <a:lnTo>
                    <a:pt x="826" y="734"/>
                  </a:lnTo>
                  <a:lnTo>
                    <a:pt x="814" y="746"/>
                  </a:lnTo>
                  <a:lnTo>
                    <a:pt x="801" y="758"/>
                  </a:lnTo>
                  <a:lnTo>
                    <a:pt x="787" y="768"/>
                  </a:lnTo>
                  <a:lnTo>
                    <a:pt x="773" y="777"/>
                  </a:lnTo>
                  <a:lnTo>
                    <a:pt x="757" y="785"/>
                  </a:lnTo>
                  <a:lnTo>
                    <a:pt x="741" y="790"/>
                  </a:lnTo>
                  <a:lnTo>
                    <a:pt x="724" y="795"/>
                  </a:lnTo>
                  <a:lnTo>
                    <a:pt x="706" y="798"/>
                  </a:lnTo>
                  <a:lnTo>
                    <a:pt x="688" y="799"/>
                  </a:lnTo>
                  <a:close/>
                  <a:moveTo>
                    <a:pt x="210" y="799"/>
                  </a:moveTo>
                  <a:lnTo>
                    <a:pt x="192" y="798"/>
                  </a:lnTo>
                  <a:lnTo>
                    <a:pt x="173" y="795"/>
                  </a:lnTo>
                  <a:lnTo>
                    <a:pt x="156" y="790"/>
                  </a:lnTo>
                  <a:lnTo>
                    <a:pt x="140" y="785"/>
                  </a:lnTo>
                  <a:lnTo>
                    <a:pt x="124" y="777"/>
                  </a:lnTo>
                  <a:lnTo>
                    <a:pt x="109" y="768"/>
                  </a:lnTo>
                  <a:lnTo>
                    <a:pt x="95" y="758"/>
                  </a:lnTo>
                  <a:lnTo>
                    <a:pt x="82" y="746"/>
                  </a:lnTo>
                  <a:lnTo>
                    <a:pt x="71" y="734"/>
                  </a:lnTo>
                  <a:lnTo>
                    <a:pt x="61" y="720"/>
                  </a:lnTo>
                  <a:lnTo>
                    <a:pt x="51" y="705"/>
                  </a:lnTo>
                  <a:lnTo>
                    <a:pt x="44" y="689"/>
                  </a:lnTo>
                  <a:lnTo>
                    <a:pt x="39" y="673"/>
                  </a:lnTo>
                  <a:lnTo>
                    <a:pt x="33" y="655"/>
                  </a:lnTo>
                  <a:lnTo>
                    <a:pt x="31" y="637"/>
                  </a:lnTo>
                  <a:lnTo>
                    <a:pt x="30" y="619"/>
                  </a:lnTo>
                  <a:lnTo>
                    <a:pt x="31" y="601"/>
                  </a:lnTo>
                  <a:lnTo>
                    <a:pt x="33" y="583"/>
                  </a:lnTo>
                  <a:lnTo>
                    <a:pt x="39" y="566"/>
                  </a:lnTo>
                  <a:lnTo>
                    <a:pt x="44" y="550"/>
                  </a:lnTo>
                  <a:lnTo>
                    <a:pt x="51" y="534"/>
                  </a:lnTo>
                  <a:lnTo>
                    <a:pt x="61" y="520"/>
                  </a:lnTo>
                  <a:lnTo>
                    <a:pt x="71" y="506"/>
                  </a:lnTo>
                  <a:lnTo>
                    <a:pt x="82" y="493"/>
                  </a:lnTo>
                  <a:lnTo>
                    <a:pt x="95" y="481"/>
                  </a:lnTo>
                  <a:lnTo>
                    <a:pt x="109" y="471"/>
                  </a:lnTo>
                  <a:lnTo>
                    <a:pt x="124" y="462"/>
                  </a:lnTo>
                  <a:lnTo>
                    <a:pt x="140" y="454"/>
                  </a:lnTo>
                  <a:lnTo>
                    <a:pt x="156" y="448"/>
                  </a:lnTo>
                  <a:lnTo>
                    <a:pt x="173" y="444"/>
                  </a:lnTo>
                  <a:lnTo>
                    <a:pt x="192" y="441"/>
                  </a:lnTo>
                  <a:lnTo>
                    <a:pt x="210" y="441"/>
                  </a:lnTo>
                  <a:lnTo>
                    <a:pt x="228" y="441"/>
                  </a:lnTo>
                  <a:lnTo>
                    <a:pt x="245" y="444"/>
                  </a:lnTo>
                  <a:lnTo>
                    <a:pt x="263" y="448"/>
                  </a:lnTo>
                  <a:lnTo>
                    <a:pt x="279" y="454"/>
                  </a:lnTo>
                  <a:lnTo>
                    <a:pt x="295" y="462"/>
                  </a:lnTo>
                  <a:lnTo>
                    <a:pt x="309" y="471"/>
                  </a:lnTo>
                  <a:lnTo>
                    <a:pt x="323" y="481"/>
                  </a:lnTo>
                  <a:lnTo>
                    <a:pt x="336" y="493"/>
                  </a:lnTo>
                  <a:lnTo>
                    <a:pt x="348" y="506"/>
                  </a:lnTo>
                  <a:lnTo>
                    <a:pt x="358" y="520"/>
                  </a:lnTo>
                  <a:lnTo>
                    <a:pt x="367" y="534"/>
                  </a:lnTo>
                  <a:lnTo>
                    <a:pt x="374" y="550"/>
                  </a:lnTo>
                  <a:lnTo>
                    <a:pt x="381" y="566"/>
                  </a:lnTo>
                  <a:lnTo>
                    <a:pt x="385" y="583"/>
                  </a:lnTo>
                  <a:lnTo>
                    <a:pt x="387" y="601"/>
                  </a:lnTo>
                  <a:lnTo>
                    <a:pt x="388" y="619"/>
                  </a:lnTo>
                  <a:lnTo>
                    <a:pt x="387" y="637"/>
                  </a:lnTo>
                  <a:lnTo>
                    <a:pt x="385" y="655"/>
                  </a:lnTo>
                  <a:lnTo>
                    <a:pt x="381" y="673"/>
                  </a:lnTo>
                  <a:lnTo>
                    <a:pt x="374" y="689"/>
                  </a:lnTo>
                  <a:lnTo>
                    <a:pt x="367" y="705"/>
                  </a:lnTo>
                  <a:lnTo>
                    <a:pt x="358" y="720"/>
                  </a:lnTo>
                  <a:lnTo>
                    <a:pt x="348" y="734"/>
                  </a:lnTo>
                  <a:lnTo>
                    <a:pt x="336" y="746"/>
                  </a:lnTo>
                  <a:lnTo>
                    <a:pt x="323" y="758"/>
                  </a:lnTo>
                  <a:lnTo>
                    <a:pt x="309" y="768"/>
                  </a:lnTo>
                  <a:lnTo>
                    <a:pt x="295" y="777"/>
                  </a:lnTo>
                  <a:lnTo>
                    <a:pt x="279" y="785"/>
                  </a:lnTo>
                  <a:lnTo>
                    <a:pt x="263" y="790"/>
                  </a:lnTo>
                  <a:lnTo>
                    <a:pt x="245" y="795"/>
                  </a:lnTo>
                  <a:lnTo>
                    <a:pt x="228" y="798"/>
                  </a:lnTo>
                  <a:lnTo>
                    <a:pt x="210" y="799"/>
                  </a:lnTo>
                  <a:close/>
                  <a:moveTo>
                    <a:pt x="867" y="511"/>
                  </a:moveTo>
                  <a:lnTo>
                    <a:pt x="865" y="510"/>
                  </a:lnTo>
                  <a:lnTo>
                    <a:pt x="865" y="509"/>
                  </a:lnTo>
                  <a:lnTo>
                    <a:pt x="746" y="240"/>
                  </a:lnTo>
                  <a:lnTo>
                    <a:pt x="745" y="237"/>
                  </a:lnTo>
                  <a:lnTo>
                    <a:pt x="744" y="235"/>
                  </a:lnTo>
                  <a:lnTo>
                    <a:pt x="686" y="178"/>
                  </a:lnTo>
                  <a:lnTo>
                    <a:pt x="632" y="32"/>
                  </a:lnTo>
                  <a:lnTo>
                    <a:pt x="631" y="29"/>
                  </a:lnTo>
                  <a:lnTo>
                    <a:pt x="629" y="26"/>
                  </a:lnTo>
                  <a:lnTo>
                    <a:pt x="622" y="20"/>
                  </a:lnTo>
                  <a:lnTo>
                    <a:pt x="614" y="15"/>
                  </a:lnTo>
                  <a:lnTo>
                    <a:pt x="606" y="11"/>
                  </a:lnTo>
                  <a:lnTo>
                    <a:pt x="596" y="8"/>
                  </a:lnTo>
                  <a:lnTo>
                    <a:pt x="586" y="4"/>
                  </a:lnTo>
                  <a:lnTo>
                    <a:pt x="577" y="2"/>
                  </a:lnTo>
                  <a:lnTo>
                    <a:pt x="566" y="1"/>
                  </a:lnTo>
                  <a:lnTo>
                    <a:pt x="555" y="1"/>
                  </a:lnTo>
                  <a:lnTo>
                    <a:pt x="546" y="1"/>
                  </a:lnTo>
                  <a:lnTo>
                    <a:pt x="535" y="2"/>
                  </a:lnTo>
                  <a:lnTo>
                    <a:pt x="525" y="4"/>
                  </a:lnTo>
                  <a:lnTo>
                    <a:pt x="516" y="8"/>
                  </a:lnTo>
                  <a:lnTo>
                    <a:pt x="506" y="11"/>
                  </a:lnTo>
                  <a:lnTo>
                    <a:pt x="497" y="15"/>
                  </a:lnTo>
                  <a:lnTo>
                    <a:pt x="490" y="20"/>
                  </a:lnTo>
                  <a:lnTo>
                    <a:pt x="483" y="26"/>
                  </a:lnTo>
                  <a:lnTo>
                    <a:pt x="481" y="29"/>
                  </a:lnTo>
                  <a:lnTo>
                    <a:pt x="479" y="31"/>
                  </a:lnTo>
                  <a:lnTo>
                    <a:pt x="478" y="34"/>
                  </a:lnTo>
                  <a:lnTo>
                    <a:pt x="478" y="36"/>
                  </a:lnTo>
                  <a:lnTo>
                    <a:pt x="478" y="186"/>
                  </a:lnTo>
                  <a:lnTo>
                    <a:pt x="478" y="189"/>
                  </a:lnTo>
                  <a:lnTo>
                    <a:pt x="479" y="191"/>
                  </a:lnTo>
                  <a:lnTo>
                    <a:pt x="481" y="195"/>
                  </a:lnTo>
                  <a:lnTo>
                    <a:pt x="483" y="197"/>
                  </a:lnTo>
                  <a:lnTo>
                    <a:pt x="485" y="199"/>
                  </a:lnTo>
                  <a:lnTo>
                    <a:pt x="488" y="200"/>
                  </a:lnTo>
                  <a:lnTo>
                    <a:pt x="490" y="201"/>
                  </a:lnTo>
                  <a:lnTo>
                    <a:pt x="493" y="201"/>
                  </a:lnTo>
                  <a:lnTo>
                    <a:pt x="496" y="201"/>
                  </a:lnTo>
                  <a:lnTo>
                    <a:pt x="500" y="200"/>
                  </a:lnTo>
                  <a:lnTo>
                    <a:pt x="502" y="199"/>
                  </a:lnTo>
                  <a:lnTo>
                    <a:pt x="504" y="197"/>
                  </a:lnTo>
                  <a:lnTo>
                    <a:pt x="506" y="195"/>
                  </a:lnTo>
                  <a:lnTo>
                    <a:pt x="507" y="191"/>
                  </a:lnTo>
                  <a:lnTo>
                    <a:pt x="508" y="189"/>
                  </a:lnTo>
                  <a:lnTo>
                    <a:pt x="508" y="186"/>
                  </a:lnTo>
                  <a:lnTo>
                    <a:pt x="508" y="44"/>
                  </a:lnTo>
                  <a:lnTo>
                    <a:pt x="514" y="41"/>
                  </a:lnTo>
                  <a:lnTo>
                    <a:pt x="519" y="37"/>
                  </a:lnTo>
                  <a:lnTo>
                    <a:pt x="524" y="35"/>
                  </a:lnTo>
                  <a:lnTo>
                    <a:pt x="531" y="33"/>
                  </a:lnTo>
                  <a:lnTo>
                    <a:pt x="543" y="31"/>
                  </a:lnTo>
                  <a:lnTo>
                    <a:pt x="557" y="31"/>
                  </a:lnTo>
                  <a:lnTo>
                    <a:pt x="571" y="32"/>
                  </a:lnTo>
                  <a:lnTo>
                    <a:pt x="584" y="34"/>
                  </a:lnTo>
                  <a:lnTo>
                    <a:pt x="591" y="36"/>
                  </a:lnTo>
                  <a:lnTo>
                    <a:pt x="596" y="39"/>
                  </a:lnTo>
                  <a:lnTo>
                    <a:pt x="601" y="42"/>
                  </a:lnTo>
                  <a:lnTo>
                    <a:pt x="606" y="45"/>
                  </a:lnTo>
                  <a:lnTo>
                    <a:pt x="659" y="191"/>
                  </a:lnTo>
                  <a:lnTo>
                    <a:pt x="660" y="195"/>
                  </a:lnTo>
                  <a:lnTo>
                    <a:pt x="662" y="197"/>
                  </a:lnTo>
                  <a:lnTo>
                    <a:pt x="720" y="255"/>
                  </a:lnTo>
                  <a:lnTo>
                    <a:pt x="806" y="447"/>
                  </a:lnTo>
                  <a:lnTo>
                    <a:pt x="793" y="438"/>
                  </a:lnTo>
                  <a:lnTo>
                    <a:pt x="779" y="431"/>
                  </a:lnTo>
                  <a:lnTo>
                    <a:pt x="765" y="425"/>
                  </a:lnTo>
                  <a:lnTo>
                    <a:pt x="750" y="420"/>
                  </a:lnTo>
                  <a:lnTo>
                    <a:pt x="735" y="416"/>
                  </a:lnTo>
                  <a:lnTo>
                    <a:pt x="720" y="413"/>
                  </a:lnTo>
                  <a:lnTo>
                    <a:pt x="704" y="411"/>
                  </a:lnTo>
                  <a:lnTo>
                    <a:pt x="688" y="411"/>
                  </a:lnTo>
                  <a:lnTo>
                    <a:pt x="674" y="411"/>
                  </a:lnTo>
                  <a:lnTo>
                    <a:pt x="660" y="412"/>
                  </a:lnTo>
                  <a:lnTo>
                    <a:pt x="646" y="415"/>
                  </a:lnTo>
                  <a:lnTo>
                    <a:pt x="632" y="418"/>
                  </a:lnTo>
                  <a:lnTo>
                    <a:pt x="619" y="421"/>
                  </a:lnTo>
                  <a:lnTo>
                    <a:pt x="607" y="427"/>
                  </a:lnTo>
                  <a:lnTo>
                    <a:pt x="595" y="432"/>
                  </a:lnTo>
                  <a:lnTo>
                    <a:pt x="583" y="438"/>
                  </a:lnTo>
                  <a:lnTo>
                    <a:pt x="572" y="446"/>
                  </a:lnTo>
                  <a:lnTo>
                    <a:pt x="561" y="453"/>
                  </a:lnTo>
                  <a:lnTo>
                    <a:pt x="551" y="462"/>
                  </a:lnTo>
                  <a:lnTo>
                    <a:pt x="541" y="471"/>
                  </a:lnTo>
                  <a:lnTo>
                    <a:pt x="532" y="480"/>
                  </a:lnTo>
                  <a:lnTo>
                    <a:pt x="523" y="491"/>
                  </a:lnTo>
                  <a:lnTo>
                    <a:pt x="516" y="502"/>
                  </a:lnTo>
                  <a:lnTo>
                    <a:pt x="508" y="512"/>
                  </a:lnTo>
                  <a:lnTo>
                    <a:pt x="508" y="297"/>
                  </a:lnTo>
                  <a:lnTo>
                    <a:pt x="525" y="302"/>
                  </a:lnTo>
                  <a:lnTo>
                    <a:pt x="539" y="307"/>
                  </a:lnTo>
                  <a:lnTo>
                    <a:pt x="552" y="313"/>
                  </a:lnTo>
                  <a:lnTo>
                    <a:pt x="563" y="320"/>
                  </a:lnTo>
                  <a:lnTo>
                    <a:pt x="571" y="327"/>
                  </a:lnTo>
                  <a:lnTo>
                    <a:pt x="578" y="335"/>
                  </a:lnTo>
                  <a:lnTo>
                    <a:pt x="580" y="339"/>
                  </a:lnTo>
                  <a:lnTo>
                    <a:pt x="582" y="342"/>
                  </a:lnTo>
                  <a:lnTo>
                    <a:pt x="583" y="346"/>
                  </a:lnTo>
                  <a:lnTo>
                    <a:pt x="583" y="351"/>
                  </a:lnTo>
                  <a:lnTo>
                    <a:pt x="583" y="354"/>
                  </a:lnTo>
                  <a:lnTo>
                    <a:pt x="584" y="356"/>
                  </a:lnTo>
                  <a:lnTo>
                    <a:pt x="585" y="359"/>
                  </a:lnTo>
                  <a:lnTo>
                    <a:pt x="587" y="361"/>
                  </a:lnTo>
                  <a:lnTo>
                    <a:pt x="589" y="363"/>
                  </a:lnTo>
                  <a:lnTo>
                    <a:pt x="593" y="365"/>
                  </a:lnTo>
                  <a:lnTo>
                    <a:pt x="595" y="365"/>
                  </a:lnTo>
                  <a:lnTo>
                    <a:pt x="598" y="366"/>
                  </a:lnTo>
                  <a:lnTo>
                    <a:pt x="601" y="365"/>
                  </a:lnTo>
                  <a:lnTo>
                    <a:pt x="603" y="365"/>
                  </a:lnTo>
                  <a:lnTo>
                    <a:pt x="607" y="363"/>
                  </a:lnTo>
                  <a:lnTo>
                    <a:pt x="609" y="361"/>
                  </a:lnTo>
                  <a:lnTo>
                    <a:pt x="611" y="359"/>
                  </a:lnTo>
                  <a:lnTo>
                    <a:pt x="612" y="356"/>
                  </a:lnTo>
                  <a:lnTo>
                    <a:pt x="613" y="354"/>
                  </a:lnTo>
                  <a:lnTo>
                    <a:pt x="613" y="351"/>
                  </a:lnTo>
                  <a:lnTo>
                    <a:pt x="612" y="341"/>
                  </a:lnTo>
                  <a:lnTo>
                    <a:pt x="610" y="332"/>
                  </a:lnTo>
                  <a:lnTo>
                    <a:pt x="606" y="323"/>
                  </a:lnTo>
                  <a:lnTo>
                    <a:pt x="600" y="314"/>
                  </a:lnTo>
                  <a:lnTo>
                    <a:pt x="594" y="307"/>
                  </a:lnTo>
                  <a:lnTo>
                    <a:pt x="585" y="299"/>
                  </a:lnTo>
                  <a:lnTo>
                    <a:pt x="577" y="293"/>
                  </a:lnTo>
                  <a:lnTo>
                    <a:pt x="566" y="287"/>
                  </a:lnTo>
                  <a:lnTo>
                    <a:pt x="554" y="281"/>
                  </a:lnTo>
                  <a:lnTo>
                    <a:pt x="541" y="276"/>
                  </a:lnTo>
                  <a:lnTo>
                    <a:pt x="528" y="272"/>
                  </a:lnTo>
                  <a:lnTo>
                    <a:pt x="514" y="267"/>
                  </a:lnTo>
                  <a:lnTo>
                    <a:pt x="499" y="265"/>
                  </a:lnTo>
                  <a:lnTo>
                    <a:pt x="483" y="263"/>
                  </a:lnTo>
                  <a:lnTo>
                    <a:pt x="465" y="261"/>
                  </a:lnTo>
                  <a:lnTo>
                    <a:pt x="448" y="261"/>
                  </a:lnTo>
                  <a:lnTo>
                    <a:pt x="431" y="261"/>
                  </a:lnTo>
                  <a:lnTo>
                    <a:pt x="414" y="263"/>
                  </a:lnTo>
                  <a:lnTo>
                    <a:pt x="399" y="265"/>
                  </a:lnTo>
                  <a:lnTo>
                    <a:pt x="383" y="267"/>
                  </a:lnTo>
                  <a:lnTo>
                    <a:pt x="369" y="272"/>
                  </a:lnTo>
                  <a:lnTo>
                    <a:pt x="355" y="276"/>
                  </a:lnTo>
                  <a:lnTo>
                    <a:pt x="342" y="281"/>
                  </a:lnTo>
                  <a:lnTo>
                    <a:pt x="332" y="287"/>
                  </a:lnTo>
                  <a:lnTo>
                    <a:pt x="321" y="293"/>
                  </a:lnTo>
                  <a:lnTo>
                    <a:pt x="311" y="299"/>
                  </a:lnTo>
                  <a:lnTo>
                    <a:pt x="304" y="307"/>
                  </a:lnTo>
                  <a:lnTo>
                    <a:pt x="296" y="314"/>
                  </a:lnTo>
                  <a:lnTo>
                    <a:pt x="291" y="323"/>
                  </a:lnTo>
                  <a:lnTo>
                    <a:pt x="288" y="332"/>
                  </a:lnTo>
                  <a:lnTo>
                    <a:pt x="285" y="341"/>
                  </a:lnTo>
                  <a:lnTo>
                    <a:pt x="285" y="351"/>
                  </a:lnTo>
                  <a:lnTo>
                    <a:pt x="285" y="354"/>
                  </a:lnTo>
                  <a:lnTo>
                    <a:pt x="286" y="356"/>
                  </a:lnTo>
                  <a:lnTo>
                    <a:pt x="287" y="359"/>
                  </a:lnTo>
                  <a:lnTo>
                    <a:pt x="289" y="361"/>
                  </a:lnTo>
                  <a:lnTo>
                    <a:pt x="291" y="363"/>
                  </a:lnTo>
                  <a:lnTo>
                    <a:pt x="293" y="365"/>
                  </a:lnTo>
                  <a:lnTo>
                    <a:pt x="296" y="365"/>
                  </a:lnTo>
                  <a:lnTo>
                    <a:pt x="300" y="366"/>
                  </a:lnTo>
                  <a:lnTo>
                    <a:pt x="302" y="365"/>
                  </a:lnTo>
                  <a:lnTo>
                    <a:pt x="305" y="365"/>
                  </a:lnTo>
                  <a:lnTo>
                    <a:pt x="307" y="363"/>
                  </a:lnTo>
                  <a:lnTo>
                    <a:pt x="309" y="361"/>
                  </a:lnTo>
                  <a:lnTo>
                    <a:pt x="311" y="359"/>
                  </a:lnTo>
                  <a:lnTo>
                    <a:pt x="312" y="356"/>
                  </a:lnTo>
                  <a:lnTo>
                    <a:pt x="313" y="354"/>
                  </a:lnTo>
                  <a:lnTo>
                    <a:pt x="313" y="351"/>
                  </a:lnTo>
                  <a:lnTo>
                    <a:pt x="315" y="346"/>
                  </a:lnTo>
                  <a:lnTo>
                    <a:pt x="316" y="342"/>
                  </a:lnTo>
                  <a:lnTo>
                    <a:pt x="317" y="339"/>
                  </a:lnTo>
                  <a:lnTo>
                    <a:pt x="319" y="335"/>
                  </a:lnTo>
                  <a:lnTo>
                    <a:pt x="325" y="327"/>
                  </a:lnTo>
                  <a:lnTo>
                    <a:pt x="334" y="320"/>
                  </a:lnTo>
                  <a:lnTo>
                    <a:pt x="345" y="313"/>
                  </a:lnTo>
                  <a:lnTo>
                    <a:pt x="357" y="307"/>
                  </a:lnTo>
                  <a:lnTo>
                    <a:pt x="372" y="302"/>
                  </a:lnTo>
                  <a:lnTo>
                    <a:pt x="388" y="297"/>
                  </a:lnTo>
                  <a:lnTo>
                    <a:pt x="388" y="512"/>
                  </a:lnTo>
                  <a:lnTo>
                    <a:pt x="382" y="500"/>
                  </a:lnTo>
                  <a:lnTo>
                    <a:pt x="373" y="490"/>
                  </a:lnTo>
                  <a:lnTo>
                    <a:pt x="365" y="480"/>
                  </a:lnTo>
                  <a:lnTo>
                    <a:pt x="356" y="471"/>
                  </a:lnTo>
                  <a:lnTo>
                    <a:pt x="347" y="462"/>
                  </a:lnTo>
                  <a:lnTo>
                    <a:pt x="336" y="453"/>
                  </a:lnTo>
                  <a:lnTo>
                    <a:pt x="325" y="446"/>
                  </a:lnTo>
                  <a:lnTo>
                    <a:pt x="313" y="438"/>
                  </a:lnTo>
                  <a:lnTo>
                    <a:pt x="302" y="432"/>
                  </a:lnTo>
                  <a:lnTo>
                    <a:pt x="290" y="427"/>
                  </a:lnTo>
                  <a:lnTo>
                    <a:pt x="277" y="421"/>
                  </a:lnTo>
                  <a:lnTo>
                    <a:pt x="264" y="418"/>
                  </a:lnTo>
                  <a:lnTo>
                    <a:pt x="251" y="415"/>
                  </a:lnTo>
                  <a:lnTo>
                    <a:pt x="238" y="412"/>
                  </a:lnTo>
                  <a:lnTo>
                    <a:pt x="224" y="411"/>
                  </a:lnTo>
                  <a:lnTo>
                    <a:pt x="210" y="411"/>
                  </a:lnTo>
                  <a:lnTo>
                    <a:pt x="194" y="411"/>
                  </a:lnTo>
                  <a:lnTo>
                    <a:pt x="178" y="413"/>
                  </a:lnTo>
                  <a:lnTo>
                    <a:pt x="162" y="416"/>
                  </a:lnTo>
                  <a:lnTo>
                    <a:pt x="147" y="420"/>
                  </a:lnTo>
                  <a:lnTo>
                    <a:pt x="133" y="425"/>
                  </a:lnTo>
                  <a:lnTo>
                    <a:pt x="118" y="431"/>
                  </a:lnTo>
                  <a:lnTo>
                    <a:pt x="105" y="438"/>
                  </a:lnTo>
                  <a:lnTo>
                    <a:pt x="92" y="447"/>
                  </a:lnTo>
                  <a:lnTo>
                    <a:pt x="178" y="255"/>
                  </a:lnTo>
                  <a:lnTo>
                    <a:pt x="235" y="197"/>
                  </a:lnTo>
                  <a:lnTo>
                    <a:pt x="236" y="195"/>
                  </a:lnTo>
                  <a:lnTo>
                    <a:pt x="239" y="191"/>
                  </a:lnTo>
                  <a:lnTo>
                    <a:pt x="296" y="45"/>
                  </a:lnTo>
                  <a:lnTo>
                    <a:pt x="302" y="42"/>
                  </a:lnTo>
                  <a:lnTo>
                    <a:pt x="306" y="39"/>
                  </a:lnTo>
                  <a:lnTo>
                    <a:pt x="311" y="36"/>
                  </a:lnTo>
                  <a:lnTo>
                    <a:pt x="317" y="34"/>
                  </a:lnTo>
                  <a:lnTo>
                    <a:pt x="330" y="31"/>
                  </a:lnTo>
                  <a:lnTo>
                    <a:pt x="342" y="30"/>
                  </a:lnTo>
                  <a:lnTo>
                    <a:pt x="355" y="31"/>
                  </a:lnTo>
                  <a:lnTo>
                    <a:pt x="367" y="33"/>
                  </a:lnTo>
                  <a:lnTo>
                    <a:pt x="373" y="35"/>
                  </a:lnTo>
                  <a:lnTo>
                    <a:pt x="379" y="37"/>
                  </a:lnTo>
                  <a:lnTo>
                    <a:pt x="384" y="41"/>
                  </a:lnTo>
                  <a:lnTo>
                    <a:pt x="388" y="44"/>
                  </a:lnTo>
                  <a:lnTo>
                    <a:pt x="388" y="186"/>
                  </a:lnTo>
                  <a:lnTo>
                    <a:pt x="389" y="189"/>
                  </a:lnTo>
                  <a:lnTo>
                    <a:pt x="389" y="191"/>
                  </a:lnTo>
                  <a:lnTo>
                    <a:pt x="392" y="195"/>
                  </a:lnTo>
                  <a:lnTo>
                    <a:pt x="393" y="197"/>
                  </a:lnTo>
                  <a:lnTo>
                    <a:pt x="396" y="199"/>
                  </a:lnTo>
                  <a:lnTo>
                    <a:pt x="398" y="200"/>
                  </a:lnTo>
                  <a:lnTo>
                    <a:pt x="401" y="201"/>
                  </a:lnTo>
                  <a:lnTo>
                    <a:pt x="403" y="201"/>
                  </a:lnTo>
                  <a:lnTo>
                    <a:pt x="407" y="201"/>
                  </a:lnTo>
                  <a:lnTo>
                    <a:pt x="410" y="200"/>
                  </a:lnTo>
                  <a:lnTo>
                    <a:pt x="412" y="199"/>
                  </a:lnTo>
                  <a:lnTo>
                    <a:pt x="414" y="197"/>
                  </a:lnTo>
                  <a:lnTo>
                    <a:pt x="416" y="195"/>
                  </a:lnTo>
                  <a:lnTo>
                    <a:pt x="417" y="191"/>
                  </a:lnTo>
                  <a:lnTo>
                    <a:pt x="418" y="189"/>
                  </a:lnTo>
                  <a:lnTo>
                    <a:pt x="418" y="186"/>
                  </a:lnTo>
                  <a:lnTo>
                    <a:pt x="418" y="36"/>
                  </a:lnTo>
                  <a:lnTo>
                    <a:pt x="418" y="34"/>
                  </a:lnTo>
                  <a:lnTo>
                    <a:pt x="417" y="31"/>
                  </a:lnTo>
                  <a:lnTo>
                    <a:pt x="416" y="29"/>
                  </a:lnTo>
                  <a:lnTo>
                    <a:pt x="414" y="26"/>
                  </a:lnTo>
                  <a:lnTo>
                    <a:pt x="408" y="20"/>
                  </a:lnTo>
                  <a:lnTo>
                    <a:pt x="400" y="15"/>
                  </a:lnTo>
                  <a:lnTo>
                    <a:pt x="392" y="11"/>
                  </a:lnTo>
                  <a:lnTo>
                    <a:pt x="383" y="6"/>
                  </a:lnTo>
                  <a:lnTo>
                    <a:pt x="373" y="4"/>
                  </a:lnTo>
                  <a:lnTo>
                    <a:pt x="364" y="2"/>
                  </a:lnTo>
                  <a:lnTo>
                    <a:pt x="354" y="1"/>
                  </a:lnTo>
                  <a:lnTo>
                    <a:pt x="343" y="0"/>
                  </a:lnTo>
                  <a:lnTo>
                    <a:pt x="334" y="1"/>
                  </a:lnTo>
                  <a:lnTo>
                    <a:pt x="324" y="2"/>
                  </a:lnTo>
                  <a:lnTo>
                    <a:pt x="315" y="4"/>
                  </a:lnTo>
                  <a:lnTo>
                    <a:pt x="305" y="6"/>
                  </a:lnTo>
                  <a:lnTo>
                    <a:pt x="296" y="11"/>
                  </a:lnTo>
                  <a:lnTo>
                    <a:pt x="288" y="15"/>
                  </a:lnTo>
                  <a:lnTo>
                    <a:pt x="280" y="20"/>
                  </a:lnTo>
                  <a:lnTo>
                    <a:pt x="274" y="26"/>
                  </a:lnTo>
                  <a:lnTo>
                    <a:pt x="272" y="29"/>
                  </a:lnTo>
                  <a:lnTo>
                    <a:pt x="271" y="31"/>
                  </a:lnTo>
                  <a:lnTo>
                    <a:pt x="212" y="178"/>
                  </a:lnTo>
                  <a:lnTo>
                    <a:pt x="154" y="235"/>
                  </a:lnTo>
                  <a:lnTo>
                    <a:pt x="152" y="237"/>
                  </a:lnTo>
                  <a:lnTo>
                    <a:pt x="151" y="240"/>
                  </a:lnTo>
                  <a:lnTo>
                    <a:pt x="31" y="509"/>
                  </a:lnTo>
                  <a:lnTo>
                    <a:pt x="31" y="510"/>
                  </a:lnTo>
                  <a:lnTo>
                    <a:pt x="31" y="511"/>
                  </a:lnTo>
                  <a:lnTo>
                    <a:pt x="24" y="523"/>
                  </a:lnTo>
                  <a:lnTo>
                    <a:pt x="18" y="536"/>
                  </a:lnTo>
                  <a:lnTo>
                    <a:pt x="13" y="549"/>
                  </a:lnTo>
                  <a:lnTo>
                    <a:pt x="9" y="562"/>
                  </a:lnTo>
                  <a:lnTo>
                    <a:pt x="4" y="576"/>
                  </a:lnTo>
                  <a:lnTo>
                    <a:pt x="2" y="590"/>
                  </a:lnTo>
                  <a:lnTo>
                    <a:pt x="1" y="604"/>
                  </a:lnTo>
                  <a:lnTo>
                    <a:pt x="0" y="619"/>
                  </a:lnTo>
                  <a:lnTo>
                    <a:pt x="0" y="630"/>
                  </a:lnTo>
                  <a:lnTo>
                    <a:pt x="1" y="641"/>
                  </a:lnTo>
                  <a:lnTo>
                    <a:pt x="2" y="651"/>
                  </a:lnTo>
                  <a:lnTo>
                    <a:pt x="4" y="662"/>
                  </a:lnTo>
                  <a:lnTo>
                    <a:pt x="10" y="681"/>
                  </a:lnTo>
                  <a:lnTo>
                    <a:pt x="17" y="700"/>
                  </a:lnTo>
                  <a:lnTo>
                    <a:pt x="26" y="719"/>
                  </a:lnTo>
                  <a:lnTo>
                    <a:pt x="36" y="736"/>
                  </a:lnTo>
                  <a:lnTo>
                    <a:pt x="48" y="753"/>
                  </a:lnTo>
                  <a:lnTo>
                    <a:pt x="61" y="767"/>
                  </a:lnTo>
                  <a:lnTo>
                    <a:pt x="76" y="781"/>
                  </a:lnTo>
                  <a:lnTo>
                    <a:pt x="92" y="792"/>
                  </a:lnTo>
                  <a:lnTo>
                    <a:pt x="110" y="803"/>
                  </a:lnTo>
                  <a:lnTo>
                    <a:pt x="128" y="812"/>
                  </a:lnTo>
                  <a:lnTo>
                    <a:pt x="148" y="819"/>
                  </a:lnTo>
                  <a:lnTo>
                    <a:pt x="167" y="824"/>
                  </a:lnTo>
                  <a:lnTo>
                    <a:pt x="178" y="827"/>
                  </a:lnTo>
                  <a:lnTo>
                    <a:pt x="188" y="828"/>
                  </a:lnTo>
                  <a:lnTo>
                    <a:pt x="199" y="829"/>
                  </a:lnTo>
                  <a:lnTo>
                    <a:pt x="210" y="829"/>
                  </a:lnTo>
                  <a:lnTo>
                    <a:pt x="231" y="828"/>
                  </a:lnTo>
                  <a:lnTo>
                    <a:pt x="251" y="824"/>
                  </a:lnTo>
                  <a:lnTo>
                    <a:pt x="272" y="819"/>
                  </a:lnTo>
                  <a:lnTo>
                    <a:pt x="291" y="812"/>
                  </a:lnTo>
                  <a:lnTo>
                    <a:pt x="309" y="803"/>
                  </a:lnTo>
                  <a:lnTo>
                    <a:pt x="326" y="792"/>
                  </a:lnTo>
                  <a:lnTo>
                    <a:pt x="342" y="781"/>
                  </a:lnTo>
                  <a:lnTo>
                    <a:pt x="357" y="767"/>
                  </a:lnTo>
                  <a:lnTo>
                    <a:pt x="371" y="753"/>
                  </a:lnTo>
                  <a:lnTo>
                    <a:pt x="383" y="737"/>
                  </a:lnTo>
                  <a:lnTo>
                    <a:pt x="394" y="719"/>
                  </a:lnTo>
                  <a:lnTo>
                    <a:pt x="402" y="700"/>
                  </a:lnTo>
                  <a:lnTo>
                    <a:pt x="409" y="681"/>
                  </a:lnTo>
                  <a:lnTo>
                    <a:pt x="414" y="662"/>
                  </a:lnTo>
                  <a:lnTo>
                    <a:pt x="416" y="651"/>
                  </a:lnTo>
                  <a:lnTo>
                    <a:pt x="417" y="641"/>
                  </a:lnTo>
                  <a:lnTo>
                    <a:pt x="418" y="630"/>
                  </a:lnTo>
                  <a:lnTo>
                    <a:pt x="418" y="619"/>
                  </a:lnTo>
                  <a:lnTo>
                    <a:pt x="418" y="292"/>
                  </a:lnTo>
                  <a:lnTo>
                    <a:pt x="433" y="291"/>
                  </a:lnTo>
                  <a:lnTo>
                    <a:pt x="448" y="291"/>
                  </a:lnTo>
                  <a:lnTo>
                    <a:pt x="464" y="291"/>
                  </a:lnTo>
                  <a:lnTo>
                    <a:pt x="478" y="292"/>
                  </a:lnTo>
                  <a:lnTo>
                    <a:pt x="478" y="619"/>
                  </a:lnTo>
                  <a:lnTo>
                    <a:pt x="478" y="630"/>
                  </a:lnTo>
                  <a:lnTo>
                    <a:pt x="479" y="641"/>
                  </a:lnTo>
                  <a:lnTo>
                    <a:pt x="480" y="651"/>
                  </a:lnTo>
                  <a:lnTo>
                    <a:pt x="483" y="662"/>
                  </a:lnTo>
                  <a:lnTo>
                    <a:pt x="488" y="681"/>
                  </a:lnTo>
                  <a:lnTo>
                    <a:pt x="495" y="700"/>
                  </a:lnTo>
                  <a:lnTo>
                    <a:pt x="504" y="719"/>
                  </a:lnTo>
                  <a:lnTo>
                    <a:pt x="515" y="736"/>
                  </a:lnTo>
                  <a:lnTo>
                    <a:pt x="526" y="753"/>
                  </a:lnTo>
                  <a:lnTo>
                    <a:pt x="540" y="767"/>
                  </a:lnTo>
                  <a:lnTo>
                    <a:pt x="554" y="781"/>
                  </a:lnTo>
                  <a:lnTo>
                    <a:pt x="570" y="792"/>
                  </a:lnTo>
                  <a:lnTo>
                    <a:pt x="588" y="803"/>
                  </a:lnTo>
                  <a:lnTo>
                    <a:pt x="607" y="812"/>
                  </a:lnTo>
                  <a:lnTo>
                    <a:pt x="626" y="819"/>
                  </a:lnTo>
                  <a:lnTo>
                    <a:pt x="645" y="824"/>
                  </a:lnTo>
                  <a:lnTo>
                    <a:pt x="656" y="827"/>
                  </a:lnTo>
                  <a:lnTo>
                    <a:pt x="666" y="828"/>
                  </a:lnTo>
                  <a:lnTo>
                    <a:pt x="677" y="829"/>
                  </a:lnTo>
                  <a:lnTo>
                    <a:pt x="688" y="829"/>
                  </a:lnTo>
                  <a:lnTo>
                    <a:pt x="709" y="828"/>
                  </a:lnTo>
                  <a:lnTo>
                    <a:pt x="730" y="824"/>
                  </a:lnTo>
                  <a:lnTo>
                    <a:pt x="750" y="819"/>
                  </a:lnTo>
                  <a:lnTo>
                    <a:pt x="769" y="812"/>
                  </a:lnTo>
                  <a:lnTo>
                    <a:pt x="787" y="803"/>
                  </a:lnTo>
                  <a:lnTo>
                    <a:pt x="804" y="792"/>
                  </a:lnTo>
                  <a:lnTo>
                    <a:pt x="821" y="781"/>
                  </a:lnTo>
                  <a:lnTo>
                    <a:pt x="835" y="767"/>
                  </a:lnTo>
                  <a:lnTo>
                    <a:pt x="849" y="753"/>
                  </a:lnTo>
                  <a:lnTo>
                    <a:pt x="861" y="737"/>
                  </a:lnTo>
                  <a:lnTo>
                    <a:pt x="872" y="719"/>
                  </a:lnTo>
                  <a:lnTo>
                    <a:pt x="880" y="700"/>
                  </a:lnTo>
                  <a:lnTo>
                    <a:pt x="888" y="681"/>
                  </a:lnTo>
                  <a:lnTo>
                    <a:pt x="892" y="662"/>
                  </a:lnTo>
                  <a:lnTo>
                    <a:pt x="894" y="651"/>
                  </a:lnTo>
                  <a:lnTo>
                    <a:pt x="895" y="641"/>
                  </a:lnTo>
                  <a:lnTo>
                    <a:pt x="896" y="630"/>
                  </a:lnTo>
                  <a:lnTo>
                    <a:pt x="896" y="619"/>
                  </a:lnTo>
                  <a:lnTo>
                    <a:pt x="896" y="604"/>
                  </a:lnTo>
                  <a:lnTo>
                    <a:pt x="894" y="590"/>
                  </a:lnTo>
                  <a:lnTo>
                    <a:pt x="892" y="576"/>
                  </a:lnTo>
                  <a:lnTo>
                    <a:pt x="889" y="562"/>
                  </a:lnTo>
                  <a:lnTo>
                    <a:pt x="885" y="549"/>
                  </a:lnTo>
                  <a:lnTo>
                    <a:pt x="879" y="536"/>
                  </a:lnTo>
                  <a:lnTo>
                    <a:pt x="873" y="523"/>
                  </a:lnTo>
                  <a:lnTo>
                    <a:pt x="867" y="511"/>
                  </a:lnTo>
                  <a:lnTo>
                    <a:pt x="867" y="5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275">
              <a:extLst>
                <a:ext uri="{FF2B5EF4-FFF2-40B4-BE49-F238E27FC236}">
                  <a16:creationId xmlns:a16="http://schemas.microsoft.com/office/drawing/2014/main" id="{B21B848C-207F-46E5-98BD-13677C3E79C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2350" y="2657476"/>
              <a:ext cx="44450" cy="44450"/>
            </a:xfrm>
            <a:custGeom>
              <a:avLst/>
              <a:gdLst>
                <a:gd name="T0" fmla="*/ 114 w 142"/>
                <a:gd name="T1" fmla="*/ 1 h 144"/>
                <a:gd name="T2" fmla="*/ 90 w 142"/>
                <a:gd name="T3" fmla="*/ 6 h 144"/>
                <a:gd name="T4" fmla="*/ 66 w 142"/>
                <a:gd name="T5" fmla="*/ 15 h 144"/>
                <a:gd name="T6" fmla="*/ 46 w 142"/>
                <a:gd name="T7" fmla="*/ 29 h 144"/>
                <a:gd name="T8" fmla="*/ 29 w 142"/>
                <a:gd name="T9" fmla="*/ 47 h 144"/>
                <a:gd name="T10" fmla="*/ 15 w 142"/>
                <a:gd name="T11" fmla="*/ 68 h 144"/>
                <a:gd name="T12" fmla="*/ 5 w 142"/>
                <a:gd name="T13" fmla="*/ 90 h 144"/>
                <a:gd name="T14" fmla="*/ 0 w 142"/>
                <a:gd name="T15" fmla="*/ 116 h 144"/>
                <a:gd name="T16" fmla="*/ 0 w 142"/>
                <a:gd name="T17" fmla="*/ 132 h 144"/>
                <a:gd name="T18" fmla="*/ 2 w 142"/>
                <a:gd name="T19" fmla="*/ 136 h 144"/>
                <a:gd name="T20" fmla="*/ 6 w 142"/>
                <a:gd name="T21" fmla="*/ 140 h 144"/>
                <a:gd name="T22" fmla="*/ 12 w 142"/>
                <a:gd name="T23" fmla="*/ 142 h 144"/>
                <a:gd name="T24" fmla="*/ 17 w 142"/>
                <a:gd name="T25" fmla="*/ 142 h 144"/>
                <a:gd name="T26" fmla="*/ 22 w 142"/>
                <a:gd name="T27" fmla="*/ 140 h 144"/>
                <a:gd name="T28" fmla="*/ 27 w 142"/>
                <a:gd name="T29" fmla="*/ 137 h 144"/>
                <a:gd name="T30" fmla="*/ 29 w 142"/>
                <a:gd name="T31" fmla="*/ 132 h 144"/>
                <a:gd name="T32" fmla="*/ 30 w 142"/>
                <a:gd name="T33" fmla="*/ 118 h 144"/>
                <a:gd name="T34" fmla="*/ 34 w 142"/>
                <a:gd name="T35" fmla="*/ 99 h 144"/>
                <a:gd name="T36" fmla="*/ 42 w 142"/>
                <a:gd name="T37" fmla="*/ 82 h 144"/>
                <a:gd name="T38" fmla="*/ 51 w 142"/>
                <a:gd name="T39" fmla="*/ 65 h 144"/>
                <a:gd name="T40" fmla="*/ 65 w 142"/>
                <a:gd name="T41" fmla="*/ 53 h 144"/>
                <a:gd name="T42" fmla="*/ 81 w 142"/>
                <a:gd name="T43" fmla="*/ 42 h 144"/>
                <a:gd name="T44" fmla="*/ 98 w 142"/>
                <a:gd name="T45" fmla="*/ 34 h 144"/>
                <a:gd name="T46" fmla="*/ 118 w 142"/>
                <a:gd name="T47" fmla="*/ 30 h 144"/>
                <a:gd name="T48" fmla="*/ 131 w 142"/>
                <a:gd name="T49" fmla="*/ 30 h 144"/>
                <a:gd name="T50" fmla="*/ 136 w 142"/>
                <a:gd name="T51" fmla="*/ 28 h 144"/>
                <a:gd name="T52" fmla="*/ 140 w 142"/>
                <a:gd name="T53" fmla="*/ 24 h 144"/>
                <a:gd name="T54" fmla="*/ 142 w 142"/>
                <a:gd name="T55" fmla="*/ 18 h 144"/>
                <a:gd name="T56" fmla="*/ 142 w 142"/>
                <a:gd name="T57" fmla="*/ 12 h 144"/>
                <a:gd name="T58" fmla="*/ 140 w 142"/>
                <a:gd name="T59" fmla="*/ 7 h 144"/>
                <a:gd name="T60" fmla="*/ 136 w 142"/>
                <a:gd name="T61" fmla="*/ 2 h 144"/>
                <a:gd name="T62" fmla="*/ 131 w 142"/>
                <a:gd name="T63" fmla="*/ 0 h 144"/>
                <a:gd name="T64" fmla="*/ 127 w 142"/>
                <a:gd name="T65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2" h="144">
                  <a:moveTo>
                    <a:pt x="127" y="0"/>
                  </a:moveTo>
                  <a:lnTo>
                    <a:pt x="114" y="1"/>
                  </a:lnTo>
                  <a:lnTo>
                    <a:pt x="102" y="2"/>
                  </a:lnTo>
                  <a:lnTo>
                    <a:pt x="90" y="6"/>
                  </a:lnTo>
                  <a:lnTo>
                    <a:pt x="78" y="10"/>
                  </a:lnTo>
                  <a:lnTo>
                    <a:pt x="66" y="15"/>
                  </a:lnTo>
                  <a:lnTo>
                    <a:pt x="56" y="22"/>
                  </a:lnTo>
                  <a:lnTo>
                    <a:pt x="46" y="29"/>
                  </a:lnTo>
                  <a:lnTo>
                    <a:pt x="37" y="38"/>
                  </a:lnTo>
                  <a:lnTo>
                    <a:pt x="29" y="47"/>
                  </a:lnTo>
                  <a:lnTo>
                    <a:pt x="21" y="57"/>
                  </a:lnTo>
                  <a:lnTo>
                    <a:pt x="15" y="68"/>
                  </a:lnTo>
                  <a:lnTo>
                    <a:pt x="10" y="78"/>
                  </a:lnTo>
                  <a:lnTo>
                    <a:pt x="5" y="90"/>
                  </a:lnTo>
                  <a:lnTo>
                    <a:pt x="2" y="103"/>
                  </a:lnTo>
                  <a:lnTo>
                    <a:pt x="0" y="116"/>
                  </a:lnTo>
                  <a:lnTo>
                    <a:pt x="0" y="129"/>
                  </a:lnTo>
                  <a:lnTo>
                    <a:pt x="0" y="132"/>
                  </a:lnTo>
                  <a:lnTo>
                    <a:pt x="1" y="134"/>
                  </a:lnTo>
                  <a:lnTo>
                    <a:pt x="2" y="136"/>
                  </a:lnTo>
                  <a:lnTo>
                    <a:pt x="4" y="139"/>
                  </a:lnTo>
                  <a:lnTo>
                    <a:pt x="6" y="140"/>
                  </a:lnTo>
                  <a:lnTo>
                    <a:pt x="9" y="142"/>
                  </a:lnTo>
                  <a:lnTo>
                    <a:pt x="12" y="142"/>
                  </a:lnTo>
                  <a:lnTo>
                    <a:pt x="15" y="144"/>
                  </a:lnTo>
                  <a:lnTo>
                    <a:pt x="17" y="142"/>
                  </a:lnTo>
                  <a:lnTo>
                    <a:pt x="20" y="142"/>
                  </a:lnTo>
                  <a:lnTo>
                    <a:pt x="22" y="140"/>
                  </a:lnTo>
                  <a:lnTo>
                    <a:pt x="25" y="139"/>
                  </a:lnTo>
                  <a:lnTo>
                    <a:pt x="27" y="137"/>
                  </a:lnTo>
                  <a:lnTo>
                    <a:pt x="28" y="134"/>
                  </a:lnTo>
                  <a:lnTo>
                    <a:pt x="29" y="132"/>
                  </a:lnTo>
                  <a:lnTo>
                    <a:pt x="30" y="129"/>
                  </a:lnTo>
                  <a:lnTo>
                    <a:pt x="30" y="118"/>
                  </a:lnTo>
                  <a:lnTo>
                    <a:pt x="31" y="108"/>
                  </a:lnTo>
                  <a:lnTo>
                    <a:pt x="34" y="99"/>
                  </a:lnTo>
                  <a:lnTo>
                    <a:pt x="37" y="90"/>
                  </a:lnTo>
                  <a:lnTo>
                    <a:pt x="42" y="82"/>
                  </a:lnTo>
                  <a:lnTo>
                    <a:pt x="46" y="73"/>
                  </a:lnTo>
                  <a:lnTo>
                    <a:pt x="51" y="65"/>
                  </a:lnTo>
                  <a:lnTo>
                    <a:pt x="58" y="59"/>
                  </a:lnTo>
                  <a:lnTo>
                    <a:pt x="65" y="53"/>
                  </a:lnTo>
                  <a:lnTo>
                    <a:pt x="73" y="47"/>
                  </a:lnTo>
                  <a:lnTo>
                    <a:pt x="81" y="42"/>
                  </a:lnTo>
                  <a:lnTo>
                    <a:pt x="90" y="38"/>
                  </a:lnTo>
                  <a:lnTo>
                    <a:pt x="98" y="34"/>
                  </a:lnTo>
                  <a:lnTo>
                    <a:pt x="108" y="32"/>
                  </a:lnTo>
                  <a:lnTo>
                    <a:pt x="118" y="30"/>
                  </a:lnTo>
                  <a:lnTo>
                    <a:pt x="127" y="30"/>
                  </a:lnTo>
                  <a:lnTo>
                    <a:pt x="131" y="30"/>
                  </a:lnTo>
                  <a:lnTo>
                    <a:pt x="134" y="29"/>
                  </a:lnTo>
                  <a:lnTo>
                    <a:pt x="136" y="28"/>
                  </a:lnTo>
                  <a:lnTo>
                    <a:pt x="138" y="26"/>
                  </a:lnTo>
                  <a:lnTo>
                    <a:pt x="140" y="24"/>
                  </a:lnTo>
                  <a:lnTo>
                    <a:pt x="141" y="21"/>
                  </a:lnTo>
                  <a:lnTo>
                    <a:pt x="142" y="18"/>
                  </a:lnTo>
                  <a:lnTo>
                    <a:pt x="142" y="15"/>
                  </a:lnTo>
                  <a:lnTo>
                    <a:pt x="142" y="12"/>
                  </a:lnTo>
                  <a:lnTo>
                    <a:pt x="141" y="10"/>
                  </a:lnTo>
                  <a:lnTo>
                    <a:pt x="140" y="7"/>
                  </a:lnTo>
                  <a:lnTo>
                    <a:pt x="138" y="5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1" y="0"/>
                  </a:lnTo>
                  <a:lnTo>
                    <a:pt x="127" y="0"/>
                  </a:lnTo>
                  <a:lnTo>
                    <a:pt x="1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276">
              <a:extLst>
                <a:ext uri="{FF2B5EF4-FFF2-40B4-BE49-F238E27FC236}">
                  <a16:creationId xmlns:a16="http://schemas.microsoft.com/office/drawing/2014/main" id="{D8B52282-5AB6-4248-971C-9BAF91F9E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7925" y="2657476"/>
              <a:ext cx="44450" cy="44450"/>
            </a:xfrm>
            <a:custGeom>
              <a:avLst/>
              <a:gdLst>
                <a:gd name="T0" fmla="*/ 114 w 142"/>
                <a:gd name="T1" fmla="*/ 1 h 144"/>
                <a:gd name="T2" fmla="*/ 90 w 142"/>
                <a:gd name="T3" fmla="*/ 6 h 144"/>
                <a:gd name="T4" fmla="*/ 66 w 142"/>
                <a:gd name="T5" fmla="*/ 15 h 144"/>
                <a:gd name="T6" fmla="*/ 46 w 142"/>
                <a:gd name="T7" fmla="*/ 29 h 144"/>
                <a:gd name="T8" fmla="*/ 29 w 142"/>
                <a:gd name="T9" fmla="*/ 47 h 144"/>
                <a:gd name="T10" fmla="*/ 15 w 142"/>
                <a:gd name="T11" fmla="*/ 68 h 144"/>
                <a:gd name="T12" fmla="*/ 5 w 142"/>
                <a:gd name="T13" fmla="*/ 90 h 144"/>
                <a:gd name="T14" fmla="*/ 0 w 142"/>
                <a:gd name="T15" fmla="*/ 116 h 144"/>
                <a:gd name="T16" fmla="*/ 0 w 142"/>
                <a:gd name="T17" fmla="*/ 132 h 144"/>
                <a:gd name="T18" fmla="*/ 2 w 142"/>
                <a:gd name="T19" fmla="*/ 136 h 144"/>
                <a:gd name="T20" fmla="*/ 6 w 142"/>
                <a:gd name="T21" fmla="*/ 140 h 144"/>
                <a:gd name="T22" fmla="*/ 12 w 142"/>
                <a:gd name="T23" fmla="*/ 142 h 144"/>
                <a:gd name="T24" fmla="*/ 17 w 142"/>
                <a:gd name="T25" fmla="*/ 142 h 144"/>
                <a:gd name="T26" fmla="*/ 22 w 142"/>
                <a:gd name="T27" fmla="*/ 140 h 144"/>
                <a:gd name="T28" fmla="*/ 27 w 142"/>
                <a:gd name="T29" fmla="*/ 137 h 144"/>
                <a:gd name="T30" fmla="*/ 29 w 142"/>
                <a:gd name="T31" fmla="*/ 132 h 144"/>
                <a:gd name="T32" fmla="*/ 30 w 142"/>
                <a:gd name="T33" fmla="*/ 118 h 144"/>
                <a:gd name="T34" fmla="*/ 34 w 142"/>
                <a:gd name="T35" fmla="*/ 99 h 144"/>
                <a:gd name="T36" fmla="*/ 42 w 142"/>
                <a:gd name="T37" fmla="*/ 82 h 144"/>
                <a:gd name="T38" fmla="*/ 51 w 142"/>
                <a:gd name="T39" fmla="*/ 65 h 144"/>
                <a:gd name="T40" fmla="*/ 65 w 142"/>
                <a:gd name="T41" fmla="*/ 53 h 144"/>
                <a:gd name="T42" fmla="*/ 81 w 142"/>
                <a:gd name="T43" fmla="*/ 42 h 144"/>
                <a:gd name="T44" fmla="*/ 98 w 142"/>
                <a:gd name="T45" fmla="*/ 34 h 144"/>
                <a:gd name="T46" fmla="*/ 118 w 142"/>
                <a:gd name="T47" fmla="*/ 30 h 144"/>
                <a:gd name="T48" fmla="*/ 130 w 142"/>
                <a:gd name="T49" fmla="*/ 30 h 144"/>
                <a:gd name="T50" fmla="*/ 136 w 142"/>
                <a:gd name="T51" fmla="*/ 28 h 144"/>
                <a:gd name="T52" fmla="*/ 140 w 142"/>
                <a:gd name="T53" fmla="*/ 24 h 144"/>
                <a:gd name="T54" fmla="*/ 142 w 142"/>
                <a:gd name="T55" fmla="*/ 18 h 144"/>
                <a:gd name="T56" fmla="*/ 142 w 142"/>
                <a:gd name="T57" fmla="*/ 12 h 144"/>
                <a:gd name="T58" fmla="*/ 140 w 142"/>
                <a:gd name="T59" fmla="*/ 7 h 144"/>
                <a:gd name="T60" fmla="*/ 136 w 142"/>
                <a:gd name="T61" fmla="*/ 2 h 144"/>
                <a:gd name="T62" fmla="*/ 130 w 142"/>
                <a:gd name="T63" fmla="*/ 0 h 144"/>
                <a:gd name="T64" fmla="*/ 127 w 142"/>
                <a:gd name="T65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2" h="144">
                  <a:moveTo>
                    <a:pt x="127" y="0"/>
                  </a:moveTo>
                  <a:lnTo>
                    <a:pt x="114" y="1"/>
                  </a:lnTo>
                  <a:lnTo>
                    <a:pt x="102" y="2"/>
                  </a:lnTo>
                  <a:lnTo>
                    <a:pt x="90" y="6"/>
                  </a:lnTo>
                  <a:lnTo>
                    <a:pt x="78" y="10"/>
                  </a:lnTo>
                  <a:lnTo>
                    <a:pt x="66" y="15"/>
                  </a:lnTo>
                  <a:lnTo>
                    <a:pt x="56" y="22"/>
                  </a:lnTo>
                  <a:lnTo>
                    <a:pt x="46" y="29"/>
                  </a:lnTo>
                  <a:lnTo>
                    <a:pt x="37" y="38"/>
                  </a:lnTo>
                  <a:lnTo>
                    <a:pt x="29" y="47"/>
                  </a:lnTo>
                  <a:lnTo>
                    <a:pt x="21" y="57"/>
                  </a:lnTo>
                  <a:lnTo>
                    <a:pt x="15" y="68"/>
                  </a:lnTo>
                  <a:lnTo>
                    <a:pt x="10" y="78"/>
                  </a:lnTo>
                  <a:lnTo>
                    <a:pt x="5" y="90"/>
                  </a:lnTo>
                  <a:lnTo>
                    <a:pt x="2" y="103"/>
                  </a:lnTo>
                  <a:lnTo>
                    <a:pt x="0" y="116"/>
                  </a:lnTo>
                  <a:lnTo>
                    <a:pt x="0" y="129"/>
                  </a:lnTo>
                  <a:lnTo>
                    <a:pt x="0" y="132"/>
                  </a:lnTo>
                  <a:lnTo>
                    <a:pt x="1" y="134"/>
                  </a:lnTo>
                  <a:lnTo>
                    <a:pt x="2" y="136"/>
                  </a:lnTo>
                  <a:lnTo>
                    <a:pt x="4" y="139"/>
                  </a:lnTo>
                  <a:lnTo>
                    <a:pt x="6" y="140"/>
                  </a:lnTo>
                  <a:lnTo>
                    <a:pt x="8" y="142"/>
                  </a:lnTo>
                  <a:lnTo>
                    <a:pt x="12" y="142"/>
                  </a:lnTo>
                  <a:lnTo>
                    <a:pt x="15" y="144"/>
                  </a:lnTo>
                  <a:lnTo>
                    <a:pt x="17" y="142"/>
                  </a:lnTo>
                  <a:lnTo>
                    <a:pt x="20" y="142"/>
                  </a:lnTo>
                  <a:lnTo>
                    <a:pt x="22" y="140"/>
                  </a:lnTo>
                  <a:lnTo>
                    <a:pt x="25" y="139"/>
                  </a:lnTo>
                  <a:lnTo>
                    <a:pt x="27" y="137"/>
                  </a:lnTo>
                  <a:lnTo>
                    <a:pt x="28" y="134"/>
                  </a:lnTo>
                  <a:lnTo>
                    <a:pt x="29" y="132"/>
                  </a:lnTo>
                  <a:lnTo>
                    <a:pt x="30" y="129"/>
                  </a:lnTo>
                  <a:lnTo>
                    <a:pt x="30" y="118"/>
                  </a:lnTo>
                  <a:lnTo>
                    <a:pt x="31" y="108"/>
                  </a:lnTo>
                  <a:lnTo>
                    <a:pt x="34" y="99"/>
                  </a:lnTo>
                  <a:lnTo>
                    <a:pt x="37" y="90"/>
                  </a:lnTo>
                  <a:lnTo>
                    <a:pt x="42" y="82"/>
                  </a:lnTo>
                  <a:lnTo>
                    <a:pt x="46" y="73"/>
                  </a:lnTo>
                  <a:lnTo>
                    <a:pt x="51" y="65"/>
                  </a:lnTo>
                  <a:lnTo>
                    <a:pt x="58" y="59"/>
                  </a:lnTo>
                  <a:lnTo>
                    <a:pt x="65" y="53"/>
                  </a:lnTo>
                  <a:lnTo>
                    <a:pt x="73" y="47"/>
                  </a:lnTo>
                  <a:lnTo>
                    <a:pt x="81" y="42"/>
                  </a:lnTo>
                  <a:lnTo>
                    <a:pt x="90" y="38"/>
                  </a:lnTo>
                  <a:lnTo>
                    <a:pt x="98" y="34"/>
                  </a:lnTo>
                  <a:lnTo>
                    <a:pt x="108" y="32"/>
                  </a:lnTo>
                  <a:lnTo>
                    <a:pt x="118" y="30"/>
                  </a:lnTo>
                  <a:lnTo>
                    <a:pt x="127" y="30"/>
                  </a:lnTo>
                  <a:lnTo>
                    <a:pt x="130" y="30"/>
                  </a:lnTo>
                  <a:lnTo>
                    <a:pt x="134" y="29"/>
                  </a:lnTo>
                  <a:lnTo>
                    <a:pt x="136" y="28"/>
                  </a:lnTo>
                  <a:lnTo>
                    <a:pt x="138" y="26"/>
                  </a:lnTo>
                  <a:lnTo>
                    <a:pt x="140" y="24"/>
                  </a:lnTo>
                  <a:lnTo>
                    <a:pt x="141" y="21"/>
                  </a:lnTo>
                  <a:lnTo>
                    <a:pt x="142" y="18"/>
                  </a:lnTo>
                  <a:lnTo>
                    <a:pt x="142" y="15"/>
                  </a:lnTo>
                  <a:lnTo>
                    <a:pt x="142" y="12"/>
                  </a:lnTo>
                  <a:lnTo>
                    <a:pt x="141" y="10"/>
                  </a:lnTo>
                  <a:lnTo>
                    <a:pt x="140" y="7"/>
                  </a:lnTo>
                  <a:lnTo>
                    <a:pt x="138" y="5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0" y="0"/>
                  </a:lnTo>
                  <a:lnTo>
                    <a:pt x="127" y="0"/>
                  </a:lnTo>
                  <a:lnTo>
                    <a:pt x="1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Graphic 22" descr="사무직 근로자">
            <a:extLst>
              <a:ext uri="{FF2B5EF4-FFF2-40B4-BE49-F238E27FC236}">
                <a16:creationId xmlns:a16="http://schemas.microsoft.com/office/drawing/2014/main" id="{20AECE1B-C87A-4B79-97B4-784F255449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21378" y="4906879"/>
            <a:ext cx="914400" cy="914400"/>
          </a:xfrm>
          <a:prstGeom prst="rect">
            <a:avLst/>
          </a:prstGeom>
        </p:spPr>
      </p:pic>
      <p:pic>
        <p:nvPicPr>
          <p:cNvPr id="24" name="Graphic 27" descr="프로그래머">
            <a:extLst>
              <a:ext uri="{FF2B5EF4-FFF2-40B4-BE49-F238E27FC236}">
                <a16:creationId xmlns:a16="http://schemas.microsoft.com/office/drawing/2014/main" id="{F1AB68EB-72BB-4F3D-8574-C86FA83C97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83668" y="3102143"/>
            <a:ext cx="914400" cy="914400"/>
          </a:xfrm>
          <a:prstGeom prst="rect">
            <a:avLst/>
          </a:prstGeom>
        </p:spPr>
      </p:pic>
      <p:sp>
        <p:nvSpPr>
          <p:cNvPr id="31" name="Oval 30">
            <a:extLst>
              <a:ext uri="{FF2B5EF4-FFF2-40B4-BE49-F238E27FC236}">
                <a16:creationId xmlns:a16="http://schemas.microsoft.com/office/drawing/2014/main" id="{38DA36BF-3329-436C-B3C4-86FDDE268AF2}"/>
              </a:ext>
            </a:extLst>
          </p:cNvPr>
          <p:cNvSpPr/>
          <p:nvPr/>
        </p:nvSpPr>
        <p:spPr>
          <a:xfrm>
            <a:off x="7954879" y="3743826"/>
            <a:ext cx="581526" cy="5715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Freeform 739">
            <a:extLst>
              <a:ext uri="{FF2B5EF4-FFF2-40B4-BE49-F238E27FC236}">
                <a16:creationId xmlns:a16="http://schemas.microsoft.com/office/drawing/2014/main" id="{CF2E19F7-E177-4544-AB77-8379E4ADC121}"/>
              </a:ext>
            </a:extLst>
          </p:cNvPr>
          <p:cNvSpPr>
            <a:spLocks/>
          </p:cNvSpPr>
          <p:nvPr/>
        </p:nvSpPr>
        <p:spPr bwMode="auto">
          <a:xfrm>
            <a:off x="8065675" y="3863158"/>
            <a:ext cx="277813" cy="287338"/>
          </a:xfrm>
          <a:custGeom>
            <a:avLst/>
            <a:gdLst>
              <a:gd name="T0" fmla="*/ 758 w 873"/>
              <a:gd name="T1" fmla="*/ 603 h 903"/>
              <a:gd name="T2" fmla="*/ 696 w 873"/>
              <a:gd name="T3" fmla="*/ 531 h 903"/>
              <a:gd name="T4" fmla="*/ 631 w 873"/>
              <a:gd name="T5" fmla="*/ 496 h 903"/>
              <a:gd name="T6" fmla="*/ 556 w 873"/>
              <a:gd name="T7" fmla="*/ 481 h 903"/>
              <a:gd name="T8" fmla="*/ 478 w 873"/>
              <a:gd name="T9" fmla="*/ 202 h 903"/>
              <a:gd name="T10" fmla="*/ 521 w 873"/>
              <a:gd name="T11" fmla="*/ 167 h 903"/>
              <a:gd name="T12" fmla="*/ 542 w 873"/>
              <a:gd name="T13" fmla="*/ 115 h 903"/>
              <a:gd name="T14" fmla="*/ 529 w 873"/>
              <a:gd name="T15" fmla="*/ 55 h 903"/>
              <a:gd name="T16" fmla="*/ 487 w 873"/>
              <a:gd name="T17" fmla="*/ 13 h 903"/>
              <a:gd name="T18" fmla="*/ 426 w 873"/>
              <a:gd name="T19" fmla="*/ 0 h 903"/>
              <a:gd name="T20" fmla="*/ 370 w 873"/>
              <a:gd name="T21" fmla="*/ 23 h 903"/>
              <a:gd name="T22" fmla="*/ 336 w 873"/>
              <a:gd name="T23" fmla="*/ 74 h 903"/>
              <a:gd name="T24" fmla="*/ 335 w 873"/>
              <a:gd name="T25" fmla="*/ 134 h 903"/>
              <a:gd name="T26" fmla="*/ 364 w 873"/>
              <a:gd name="T27" fmla="*/ 181 h 903"/>
              <a:gd name="T28" fmla="*/ 412 w 873"/>
              <a:gd name="T29" fmla="*/ 208 h 903"/>
              <a:gd name="T30" fmla="*/ 260 w 873"/>
              <a:gd name="T31" fmla="*/ 490 h 903"/>
              <a:gd name="T32" fmla="*/ 148 w 873"/>
              <a:gd name="T33" fmla="*/ 555 h 903"/>
              <a:gd name="T34" fmla="*/ 101 w 873"/>
              <a:gd name="T35" fmla="*/ 638 h 903"/>
              <a:gd name="T36" fmla="*/ 82 w 873"/>
              <a:gd name="T37" fmla="*/ 695 h 903"/>
              <a:gd name="T38" fmla="*/ 32 w 873"/>
              <a:gd name="T39" fmla="*/ 722 h 903"/>
              <a:gd name="T40" fmla="*/ 4 w 873"/>
              <a:gd name="T41" fmla="*/ 769 h 903"/>
              <a:gd name="T42" fmla="*/ 4 w 873"/>
              <a:gd name="T43" fmla="*/ 829 h 903"/>
              <a:gd name="T44" fmla="*/ 39 w 873"/>
              <a:gd name="T45" fmla="*/ 879 h 903"/>
              <a:gd name="T46" fmla="*/ 94 w 873"/>
              <a:gd name="T47" fmla="*/ 902 h 903"/>
              <a:gd name="T48" fmla="*/ 156 w 873"/>
              <a:gd name="T49" fmla="*/ 890 h 903"/>
              <a:gd name="T50" fmla="*/ 198 w 873"/>
              <a:gd name="T51" fmla="*/ 848 h 903"/>
              <a:gd name="T52" fmla="*/ 210 w 873"/>
              <a:gd name="T53" fmla="*/ 788 h 903"/>
              <a:gd name="T54" fmla="*/ 191 w 873"/>
              <a:gd name="T55" fmla="*/ 736 h 903"/>
              <a:gd name="T56" fmla="*/ 148 w 873"/>
              <a:gd name="T57" fmla="*/ 701 h 903"/>
              <a:gd name="T58" fmla="*/ 133 w 873"/>
              <a:gd name="T59" fmla="*/ 637 h 903"/>
              <a:gd name="T60" fmla="*/ 198 w 873"/>
              <a:gd name="T61" fmla="*/ 551 h 903"/>
              <a:gd name="T62" fmla="*/ 309 w 873"/>
              <a:gd name="T63" fmla="*/ 513 h 903"/>
              <a:gd name="T64" fmla="*/ 395 w 873"/>
              <a:gd name="T65" fmla="*/ 701 h 903"/>
              <a:gd name="T66" fmla="*/ 352 w 873"/>
              <a:gd name="T67" fmla="*/ 736 h 903"/>
              <a:gd name="T68" fmla="*/ 331 w 873"/>
              <a:gd name="T69" fmla="*/ 788 h 903"/>
              <a:gd name="T70" fmla="*/ 344 w 873"/>
              <a:gd name="T71" fmla="*/ 848 h 903"/>
              <a:gd name="T72" fmla="*/ 386 w 873"/>
              <a:gd name="T73" fmla="*/ 890 h 903"/>
              <a:gd name="T74" fmla="*/ 447 w 873"/>
              <a:gd name="T75" fmla="*/ 902 h 903"/>
              <a:gd name="T76" fmla="*/ 503 w 873"/>
              <a:gd name="T77" fmla="*/ 879 h 903"/>
              <a:gd name="T78" fmla="*/ 537 w 873"/>
              <a:gd name="T79" fmla="*/ 829 h 903"/>
              <a:gd name="T80" fmla="*/ 538 w 873"/>
              <a:gd name="T81" fmla="*/ 769 h 903"/>
              <a:gd name="T82" fmla="*/ 509 w 873"/>
              <a:gd name="T83" fmla="*/ 722 h 903"/>
              <a:gd name="T84" fmla="*/ 461 w 873"/>
              <a:gd name="T85" fmla="*/ 695 h 903"/>
              <a:gd name="T86" fmla="*/ 577 w 873"/>
              <a:gd name="T87" fmla="*/ 514 h 903"/>
              <a:gd name="T88" fmla="*/ 640 w 873"/>
              <a:gd name="T89" fmla="*/ 533 h 903"/>
              <a:gd name="T90" fmla="*/ 694 w 873"/>
              <a:gd name="T91" fmla="*/ 568 h 903"/>
              <a:gd name="T92" fmla="*/ 744 w 873"/>
              <a:gd name="T93" fmla="*/ 646 h 903"/>
              <a:gd name="T94" fmla="*/ 725 w 873"/>
              <a:gd name="T95" fmla="*/ 701 h 903"/>
              <a:gd name="T96" fmla="*/ 682 w 873"/>
              <a:gd name="T97" fmla="*/ 736 h 903"/>
              <a:gd name="T98" fmla="*/ 663 w 873"/>
              <a:gd name="T99" fmla="*/ 788 h 903"/>
              <a:gd name="T100" fmla="*/ 675 w 873"/>
              <a:gd name="T101" fmla="*/ 848 h 903"/>
              <a:gd name="T102" fmla="*/ 718 w 873"/>
              <a:gd name="T103" fmla="*/ 890 h 903"/>
              <a:gd name="T104" fmla="*/ 779 w 873"/>
              <a:gd name="T105" fmla="*/ 902 h 903"/>
              <a:gd name="T106" fmla="*/ 834 w 873"/>
              <a:gd name="T107" fmla="*/ 879 h 903"/>
              <a:gd name="T108" fmla="*/ 869 w 873"/>
              <a:gd name="T109" fmla="*/ 829 h 903"/>
              <a:gd name="T110" fmla="*/ 869 w 873"/>
              <a:gd name="T111" fmla="*/ 769 h 903"/>
              <a:gd name="T112" fmla="*/ 841 w 873"/>
              <a:gd name="T113" fmla="*/ 722 h 903"/>
              <a:gd name="T114" fmla="*/ 792 w 873"/>
              <a:gd name="T115" fmla="*/ 695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73" h="903">
                <a:moveTo>
                  <a:pt x="783" y="694"/>
                </a:moveTo>
                <a:lnTo>
                  <a:pt x="781" y="675"/>
                </a:lnTo>
                <a:lnTo>
                  <a:pt x="778" y="655"/>
                </a:lnTo>
                <a:lnTo>
                  <a:pt x="773" y="637"/>
                </a:lnTo>
                <a:lnTo>
                  <a:pt x="767" y="620"/>
                </a:lnTo>
                <a:lnTo>
                  <a:pt x="758" y="603"/>
                </a:lnTo>
                <a:lnTo>
                  <a:pt x="749" y="586"/>
                </a:lnTo>
                <a:lnTo>
                  <a:pt x="737" y="570"/>
                </a:lnTo>
                <a:lnTo>
                  <a:pt x="724" y="555"/>
                </a:lnTo>
                <a:lnTo>
                  <a:pt x="715" y="547"/>
                </a:lnTo>
                <a:lnTo>
                  <a:pt x="706" y="538"/>
                </a:lnTo>
                <a:lnTo>
                  <a:pt x="696" y="531"/>
                </a:lnTo>
                <a:lnTo>
                  <a:pt x="686" y="523"/>
                </a:lnTo>
                <a:lnTo>
                  <a:pt x="676" y="517"/>
                </a:lnTo>
                <a:lnTo>
                  <a:pt x="665" y="512"/>
                </a:lnTo>
                <a:lnTo>
                  <a:pt x="654" y="505"/>
                </a:lnTo>
                <a:lnTo>
                  <a:pt x="642" y="501"/>
                </a:lnTo>
                <a:lnTo>
                  <a:pt x="631" y="496"/>
                </a:lnTo>
                <a:lnTo>
                  <a:pt x="619" y="492"/>
                </a:lnTo>
                <a:lnTo>
                  <a:pt x="607" y="489"/>
                </a:lnTo>
                <a:lnTo>
                  <a:pt x="594" y="487"/>
                </a:lnTo>
                <a:lnTo>
                  <a:pt x="581" y="485"/>
                </a:lnTo>
                <a:lnTo>
                  <a:pt x="568" y="483"/>
                </a:lnTo>
                <a:lnTo>
                  <a:pt x="556" y="481"/>
                </a:lnTo>
                <a:lnTo>
                  <a:pt x="542" y="481"/>
                </a:lnTo>
                <a:lnTo>
                  <a:pt x="452" y="481"/>
                </a:lnTo>
                <a:lnTo>
                  <a:pt x="452" y="209"/>
                </a:lnTo>
                <a:lnTo>
                  <a:pt x="461" y="208"/>
                </a:lnTo>
                <a:lnTo>
                  <a:pt x="470" y="205"/>
                </a:lnTo>
                <a:lnTo>
                  <a:pt x="478" y="202"/>
                </a:lnTo>
                <a:lnTo>
                  <a:pt x="487" y="197"/>
                </a:lnTo>
                <a:lnTo>
                  <a:pt x="495" y="193"/>
                </a:lnTo>
                <a:lnTo>
                  <a:pt x="503" y="188"/>
                </a:lnTo>
                <a:lnTo>
                  <a:pt x="509" y="181"/>
                </a:lnTo>
                <a:lnTo>
                  <a:pt x="516" y="175"/>
                </a:lnTo>
                <a:lnTo>
                  <a:pt x="521" y="167"/>
                </a:lnTo>
                <a:lnTo>
                  <a:pt x="527" y="160"/>
                </a:lnTo>
                <a:lnTo>
                  <a:pt x="531" y="151"/>
                </a:lnTo>
                <a:lnTo>
                  <a:pt x="535" y="143"/>
                </a:lnTo>
                <a:lnTo>
                  <a:pt x="538" y="134"/>
                </a:lnTo>
                <a:lnTo>
                  <a:pt x="541" y="124"/>
                </a:lnTo>
                <a:lnTo>
                  <a:pt x="542" y="115"/>
                </a:lnTo>
                <a:lnTo>
                  <a:pt x="542" y="105"/>
                </a:lnTo>
                <a:lnTo>
                  <a:pt x="542" y="94"/>
                </a:lnTo>
                <a:lnTo>
                  <a:pt x="539" y="84"/>
                </a:lnTo>
                <a:lnTo>
                  <a:pt x="537" y="74"/>
                </a:lnTo>
                <a:lnTo>
                  <a:pt x="534" y="64"/>
                </a:lnTo>
                <a:lnTo>
                  <a:pt x="529" y="55"/>
                </a:lnTo>
                <a:lnTo>
                  <a:pt x="523" y="46"/>
                </a:lnTo>
                <a:lnTo>
                  <a:pt x="518" y="38"/>
                </a:lnTo>
                <a:lnTo>
                  <a:pt x="511" y="31"/>
                </a:lnTo>
                <a:lnTo>
                  <a:pt x="503" y="23"/>
                </a:lnTo>
                <a:lnTo>
                  <a:pt x="495" y="18"/>
                </a:lnTo>
                <a:lnTo>
                  <a:pt x="487" y="13"/>
                </a:lnTo>
                <a:lnTo>
                  <a:pt x="477" y="8"/>
                </a:lnTo>
                <a:lnTo>
                  <a:pt x="468" y="4"/>
                </a:lnTo>
                <a:lnTo>
                  <a:pt x="458" y="2"/>
                </a:lnTo>
                <a:lnTo>
                  <a:pt x="447" y="0"/>
                </a:lnTo>
                <a:lnTo>
                  <a:pt x="437" y="0"/>
                </a:lnTo>
                <a:lnTo>
                  <a:pt x="426" y="0"/>
                </a:lnTo>
                <a:lnTo>
                  <a:pt x="415" y="2"/>
                </a:lnTo>
                <a:lnTo>
                  <a:pt x="405" y="4"/>
                </a:lnTo>
                <a:lnTo>
                  <a:pt x="396" y="8"/>
                </a:lnTo>
                <a:lnTo>
                  <a:pt x="386" y="13"/>
                </a:lnTo>
                <a:lnTo>
                  <a:pt x="378" y="18"/>
                </a:lnTo>
                <a:lnTo>
                  <a:pt x="370" y="23"/>
                </a:lnTo>
                <a:lnTo>
                  <a:pt x="363" y="31"/>
                </a:lnTo>
                <a:lnTo>
                  <a:pt x="355" y="38"/>
                </a:lnTo>
                <a:lnTo>
                  <a:pt x="350" y="46"/>
                </a:lnTo>
                <a:lnTo>
                  <a:pt x="344" y="55"/>
                </a:lnTo>
                <a:lnTo>
                  <a:pt x="340" y="64"/>
                </a:lnTo>
                <a:lnTo>
                  <a:pt x="336" y="74"/>
                </a:lnTo>
                <a:lnTo>
                  <a:pt x="334" y="84"/>
                </a:lnTo>
                <a:lnTo>
                  <a:pt x="331" y="94"/>
                </a:lnTo>
                <a:lnTo>
                  <a:pt x="331" y="105"/>
                </a:lnTo>
                <a:lnTo>
                  <a:pt x="331" y="115"/>
                </a:lnTo>
                <a:lnTo>
                  <a:pt x="332" y="124"/>
                </a:lnTo>
                <a:lnTo>
                  <a:pt x="335" y="134"/>
                </a:lnTo>
                <a:lnTo>
                  <a:pt x="338" y="143"/>
                </a:lnTo>
                <a:lnTo>
                  <a:pt x="342" y="151"/>
                </a:lnTo>
                <a:lnTo>
                  <a:pt x="346" y="160"/>
                </a:lnTo>
                <a:lnTo>
                  <a:pt x="352" y="167"/>
                </a:lnTo>
                <a:lnTo>
                  <a:pt x="357" y="175"/>
                </a:lnTo>
                <a:lnTo>
                  <a:pt x="364" y="181"/>
                </a:lnTo>
                <a:lnTo>
                  <a:pt x="370" y="188"/>
                </a:lnTo>
                <a:lnTo>
                  <a:pt x="378" y="193"/>
                </a:lnTo>
                <a:lnTo>
                  <a:pt x="386" y="197"/>
                </a:lnTo>
                <a:lnTo>
                  <a:pt x="395" y="202"/>
                </a:lnTo>
                <a:lnTo>
                  <a:pt x="403" y="205"/>
                </a:lnTo>
                <a:lnTo>
                  <a:pt x="412" y="208"/>
                </a:lnTo>
                <a:lnTo>
                  <a:pt x="421" y="209"/>
                </a:lnTo>
                <a:lnTo>
                  <a:pt x="421" y="481"/>
                </a:lnTo>
                <a:lnTo>
                  <a:pt x="331" y="481"/>
                </a:lnTo>
                <a:lnTo>
                  <a:pt x="307" y="483"/>
                </a:lnTo>
                <a:lnTo>
                  <a:pt x="282" y="486"/>
                </a:lnTo>
                <a:lnTo>
                  <a:pt x="260" y="490"/>
                </a:lnTo>
                <a:lnTo>
                  <a:pt x="238" y="498"/>
                </a:lnTo>
                <a:lnTo>
                  <a:pt x="218" y="506"/>
                </a:lnTo>
                <a:lnTo>
                  <a:pt x="197" y="516"/>
                </a:lnTo>
                <a:lnTo>
                  <a:pt x="180" y="528"/>
                </a:lnTo>
                <a:lnTo>
                  <a:pt x="163" y="542"/>
                </a:lnTo>
                <a:lnTo>
                  <a:pt x="148" y="555"/>
                </a:lnTo>
                <a:lnTo>
                  <a:pt x="134" y="572"/>
                </a:lnTo>
                <a:lnTo>
                  <a:pt x="122" y="590"/>
                </a:lnTo>
                <a:lnTo>
                  <a:pt x="113" y="608"/>
                </a:lnTo>
                <a:lnTo>
                  <a:pt x="108" y="618"/>
                </a:lnTo>
                <a:lnTo>
                  <a:pt x="104" y="628"/>
                </a:lnTo>
                <a:lnTo>
                  <a:pt x="101" y="638"/>
                </a:lnTo>
                <a:lnTo>
                  <a:pt x="98" y="649"/>
                </a:lnTo>
                <a:lnTo>
                  <a:pt x="95" y="660"/>
                </a:lnTo>
                <a:lnTo>
                  <a:pt x="93" y="670"/>
                </a:lnTo>
                <a:lnTo>
                  <a:pt x="92" y="682"/>
                </a:lnTo>
                <a:lnTo>
                  <a:pt x="91" y="693"/>
                </a:lnTo>
                <a:lnTo>
                  <a:pt x="82" y="695"/>
                </a:lnTo>
                <a:lnTo>
                  <a:pt x="72" y="698"/>
                </a:lnTo>
                <a:lnTo>
                  <a:pt x="63" y="701"/>
                </a:lnTo>
                <a:lnTo>
                  <a:pt x="55" y="705"/>
                </a:lnTo>
                <a:lnTo>
                  <a:pt x="47" y="710"/>
                </a:lnTo>
                <a:lnTo>
                  <a:pt x="40" y="715"/>
                </a:lnTo>
                <a:lnTo>
                  <a:pt x="32" y="722"/>
                </a:lnTo>
                <a:lnTo>
                  <a:pt x="26" y="728"/>
                </a:lnTo>
                <a:lnTo>
                  <a:pt x="20" y="736"/>
                </a:lnTo>
                <a:lnTo>
                  <a:pt x="15" y="743"/>
                </a:lnTo>
                <a:lnTo>
                  <a:pt x="11" y="752"/>
                </a:lnTo>
                <a:lnTo>
                  <a:pt x="8" y="760"/>
                </a:lnTo>
                <a:lnTo>
                  <a:pt x="4" y="769"/>
                </a:lnTo>
                <a:lnTo>
                  <a:pt x="2" y="779"/>
                </a:lnTo>
                <a:lnTo>
                  <a:pt x="0" y="788"/>
                </a:lnTo>
                <a:lnTo>
                  <a:pt x="0" y="798"/>
                </a:lnTo>
                <a:lnTo>
                  <a:pt x="1" y="809"/>
                </a:lnTo>
                <a:lnTo>
                  <a:pt x="2" y="819"/>
                </a:lnTo>
                <a:lnTo>
                  <a:pt x="4" y="829"/>
                </a:lnTo>
                <a:lnTo>
                  <a:pt x="9" y="839"/>
                </a:lnTo>
                <a:lnTo>
                  <a:pt x="13" y="848"/>
                </a:lnTo>
                <a:lnTo>
                  <a:pt x="18" y="857"/>
                </a:lnTo>
                <a:lnTo>
                  <a:pt x="24" y="864"/>
                </a:lnTo>
                <a:lnTo>
                  <a:pt x="31" y="872"/>
                </a:lnTo>
                <a:lnTo>
                  <a:pt x="39" y="879"/>
                </a:lnTo>
                <a:lnTo>
                  <a:pt x="46" y="885"/>
                </a:lnTo>
                <a:lnTo>
                  <a:pt x="55" y="890"/>
                </a:lnTo>
                <a:lnTo>
                  <a:pt x="64" y="894"/>
                </a:lnTo>
                <a:lnTo>
                  <a:pt x="74" y="899"/>
                </a:lnTo>
                <a:lnTo>
                  <a:pt x="84" y="901"/>
                </a:lnTo>
                <a:lnTo>
                  <a:pt x="94" y="902"/>
                </a:lnTo>
                <a:lnTo>
                  <a:pt x="105" y="903"/>
                </a:lnTo>
                <a:lnTo>
                  <a:pt x="116" y="902"/>
                </a:lnTo>
                <a:lnTo>
                  <a:pt x="127" y="901"/>
                </a:lnTo>
                <a:lnTo>
                  <a:pt x="136" y="899"/>
                </a:lnTo>
                <a:lnTo>
                  <a:pt x="146" y="894"/>
                </a:lnTo>
                <a:lnTo>
                  <a:pt x="156" y="890"/>
                </a:lnTo>
                <a:lnTo>
                  <a:pt x="164" y="885"/>
                </a:lnTo>
                <a:lnTo>
                  <a:pt x="173" y="879"/>
                </a:lnTo>
                <a:lnTo>
                  <a:pt x="180" y="872"/>
                </a:lnTo>
                <a:lnTo>
                  <a:pt x="187" y="864"/>
                </a:lnTo>
                <a:lnTo>
                  <a:pt x="193" y="857"/>
                </a:lnTo>
                <a:lnTo>
                  <a:pt x="198" y="848"/>
                </a:lnTo>
                <a:lnTo>
                  <a:pt x="203" y="839"/>
                </a:lnTo>
                <a:lnTo>
                  <a:pt x="206" y="829"/>
                </a:lnTo>
                <a:lnTo>
                  <a:pt x="208" y="819"/>
                </a:lnTo>
                <a:lnTo>
                  <a:pt x="210" y="809"/>
                </a:lnTo>
                <a:lnTo>
                  <a:pt x="210" y="798"/>
                </a:lnTo>
                <a:lnTo>
                  <a:pt x="210" y="788"/>
                </a:lnTo>
                <a:lnTo>
                  <a:pt x="209" y="779"/>
                </a:lnTo>
                <a:lnTo>
                  <a:pt x="207" y="769"/>
                </a:lnTo>
                <a:lnTo>
                  <a:pt x="204" y="760"/>
                </a:lnTo>
                <a:lnTo>
                  <a:pt x="201" y="752"/>
                </a:lnTo>
                <a:lnTo>
                  <a:pt x="195" y="743"/>
                </a:lnTo>
                <a:lnTo>
                  <a:pt x="191" y="736"/>
                </a:lnTo>
                <a:lnTo>
                  <a:pt x="184" y="728"/>
                </a:lnTo>
                <a:lnTo>
                  <a:pt x="179" y="722"/>
                </a:lnTo>
                <a:lnTo>
                  <a:pt x="172" y="716"/>
                </a:lnTo>
                <a:lnTo>
                  <a:pt x="164" y="710"/>
                </a:lnTo>
                <a:lnTo>
                  <a:pt x="157" y="706"/>
                </a:lnTo>
                <a:lnTo>
                  <a:pt x="148" y="701"/>
                </a:lnTo>
                <a:lnTo>
                  <a:pt x="139" y="698"/>
                </a:lnTo>
                <a:lnTo>
                  <a:pt x="131" y="695"/>
                </a:lnTo>
                <a:lnTo>
                  <a:pt x="121" y="694"/>
                </a:lnTo>
                <a:lnTo>
                  <a:pt x="123" y="673"/>
                </a:lnTo>
                <a:lnTo>
                  <a:pt x="128" y="655"/>
                </a:lnTo>
                <a:lnTo>
                  <a:pt x="133" y="637"/>
                </a:lnTo>
                <a:lnTo>
                  <a:pt x="140" y="620"/>
                </a:lnTo>
                <a:lnTo>
                  <a:pt x="149" y="604"/>
                </a:lnTo>
                <a:lnTo>
                  <a:pt x="159" y="589"/>
                </a:lnTo>
                <a:lnTo>
                  <a:pt x="171" y="575"/>
                </a:lnTo>
                <a:lnTo>
                  <a:pt x="184" y="562"/>
                </a:lnTo>
                <a:lnTo>
                  <a:pt x="198" y="551"/>
                </a:lnTo>
                <a:lnTo>
                  <a:pt x="215" y="540"/>
                </a:lnTo>
                <a:lnTo>
                  <a:pt x="231" y="532"/>
                </a:lnTo>
                <a:lnTo>
                  <a:pt x="249" y="524"/>
                </a:lnTo>
                <a:lnTo>
                  <a:pt x="268" y="519"/>
                </a:lnTo>
                <a:lnTo>
                  <a:pt x="289" y="515"/>
                </a:lnTo>
                <a:lnTo>
                  <a:pt x="309" y="513"/>
                </a:lnTo>
                <a:lnTo>
                  <a:pt x="331" y="512"/>
                </a:lnTo>
                <a:lnTo>
                  <a:pt x="421" y="512"/>
                </a:lnTo>
                <a:lnTo>
                  <a:pt x="421" y="694"/>
                </a:lnTo>
                <a:lnTo>
                  <a:pt x="412" y="695"/>
                </a:lnTo>
                <a:lnTo>
                  <a:pt x="403" y="698"/>
                </a:lnTo>
                <a:lnTo>
                  <a:pt x="395" y="701"/>
                </a:lnTo>
                <a:lnTo>
                  <a:pt x="386" y="706"/>
                </a:lnTo>
                <a:lnTo>
                  <a:pt x="378" y="710"/>
                </a:lnTo>
                <a:lnTo>
                  <a:pt x="370" y="715"/>
                </a:lnTo>
                <a:lnTo>
                  <a:pt x="364" y="722"/>
                </a:lnTo>
                <a:lnTo>
                  <a:pt x="357" y="728"/>
                </a:lnTo>
                <a:lnTo>
                  <a:pt x="352" y="736"/>
                </a:lnTo>
                <a:lnTo>
                  <a:pt x="346" y="743"/>
                </a:lnTo>
                <a:lnTo>
                  <a:pt x="342" y="752"/>
                </a:lnTo>
                <a:lnTo>
                  <a:pt x="338" y="760"/>
                </a:lnTo>
                <a:lnTo>
                  <a:pt x="335" y="769"/>
                </a:lnTo>
                <a:lnTo>
                  <a:pt x="332" y="779"/>
                </a:lnTo>
                <a:lnTo>
                  <a:pt x="331" y="788"/>
                </a:lnTo>
                <a:lnTo>
                  <a:pt x="331" y="798"/>
                </a:lnTo>
                <a:lnTo>
                  <a:pt x="331" y="809"/>
                </a:lnTo>
                <a:lnTo>
                  <a:pt x="334" y="819"/>
                </a:lnTo>
                <a:lnTo>
                  <a:pt x="336" y="829"/>
                </a:lnTo>
                <a:lnTo>
                  <a:pt x="340" y="839"/>
                </a:lnTo>
                <a:lnTo>
                  <a:pt x="344" y="848"/>
                </a:lnTo>
                <a:lnTo>
                  <a:pt x="350" y="857"/>
                </a:lnTo>
                <a:lnTo>
                  <a:pt x="355" y="864"/>
                </a:lnTo>
                <a:lnTo>
                  <a:pt x="363" y="872"/>
                </a:lnTo>
                <a:lnTo>
                  <a:pt x="370" y="879"/>
                </a:lnTo>
                <a:lnTo>
                  <a:pt x="378" y="885"/>
                </a:lnTo>
                <a:lnTo>
                  <a:pt x="386" y="890"/>
                </a:lnTo>
                <a:lnTo>
                  <a:pt x="396" y="894"/>
                </a:lnTo>
                <a:lnTo>
                  <a:pt x="405" y="899"/>
                </a:lnTo>
                <a:lnTo>
                  <a:pt x="415" y="901"/>
                </a:lnTo>
                <a:lnTo>
                  <a:pt x="426" y="902"/>
                </a:lnTo>
                <a:lnTo>
                  <a:pt x="437" y="903"/>
                </a:lnTo>
                <a:lnTo>
                  <a:pt x="447" y="902"/>
                </a:lnTo>
                <a:lnTo>
                  <a:pt x="458" y="901"/>
                </a:lnTo>
                <a:lnTo>
                  <a:pt x="468" y="899"/>
                </a:lnTo>
                <a:lnTo>
                  <a:pt x="477" y="894"/>
                </a:lnTo>
                <a:lnTo>
                  <a:pt x="487" y="890"/>
                </a:lnTo>
                <a:lnTo>
                  <a:pt x="495" y="885"/>
                </a:lnTo>
                <a:lnTo>
                  <a:pt x="503" y="879"/>
                </a:lnTo>
                <a:lnTo>
                  <a:pt x="511" y="872"/>
                </a:lnTo>
                <a:lnTo>
                  <a:pt x="518" y="864"/>
                </a:lnTo>
                <a:lnTo>
                  <a:pt x="523" y="857"/>
                </a:lnTo>
                <a:lnTo>
                  <a:pt x="529" y="848"/>
                </a:lnTo>
                <a:lnTo>
                  <a:pt x="534" y="839"/>
                </a:lnTo>
                <a:lnTo>
                  <a:pt x="537" y="829"/>
                </a:lnTo>
                <a:lnTo>
                  <a:pt x="539" y="819"/>
                </a:lnTo>
                <a:lnTo>
                  <a:pt x="542" y="809"/>
                </a:lnTo>
                <a:lnTo>
                  <a:pt x="542" y="798"/>
                </a:lnTo>
                <a:lnTo>
                  <a:pt x="542" y="788"/>
                </a:lnTo>
                <a:lnTo>
                  <a:pt x="541" y="779"/>
                </a:lnTo>
                <a:lnTo>
                  <a:pt x="538" y="769"/>
                </a:lnTo>
                <a:lnTo>
                  <a:pt x="535" y="760"/>
                </a:lnTo>
                <a:lnTo>
                  <a:pt x="531" y="752"/>
                </a:lnTo>
                <a:lnTo>
                  <a:pt x="527" y="743"/>
                </a:lnTo>
                <a:lnTo>
                  <a:pt x="521" y="736"/>
                </a:lnTo>
                <a:lnTo>
                  <a:pt x="516" y="728"/>
                </a:lnTo>
                <a:lnTo>
                  <a:pt x="509" y="722"/>
                </a:lnTo>
                <a:lnTo>
                  <a:pt x="503" y="715"/>
                </a:lnTo>
                <a:lnTo>
                  <a:pt x="495" y="710"/>
                </a:lnTo>
                <a:lnTo>
                  <a:pt x="487" y="706"/>
                </a:lnTo>
                <a:lnTo>
                  <a:pt x="478" y="701"/>
                </a:lnTo>
                <a:lnTo>
                  <a:pt x="470" y="698"/>
                </a:lnTo>
                <a:lnTo>
                  <a:pt x="461" y="695"/>
                </a:lnTo>
                <a:lnTo>
                  <a:pt x="452" y="694"/>
                </a:lnTo>
                <a:lnTo>
                  <a:pt x="452" y="512"/>
                </a:lnTo>
                <a:lnTo>
                  <a:pt x="542" y="512"/>
                </a:lnTo>
                <a:lnTo>
                  <a:pt x="553" y="512"/>
                </a:lnTo>
                <a:lnTo>
                  <a:pt x="565" y="513"/>
                </a:lnTo>
                <a:lnTo>
                  <a:pt x="577" y="514"/>
                </a:lnTo>
                <a:lnTo>
                  <a:pt x="588" y="516"/>
                </a:lnTo>
                <a:lnTo>
                  <a:pt x="600" y="518"/>
                </a:lnTo>
                <a:lnTo>
                  <a:pt x="610" y="521"/>
                </a:lnTo>
                <a:lnTo>
                  <a:pt x="620" y="524"/>
                </a:lnTo>
                <a:lnTo>
                  <a:pt x="631" y="529"/>
                </a:lnTo>
                <a:lnTo>
                  <a:pt x="640" y="533"/>
                </a:lnTo>
                <a:lnTo>
                  <a:pt x="650" y="537"/>
                </a:lnTo>
                <a:lnTo>
                  <a:pt x="660" y="543"/>
                </a:lnTo>
                <a:lnTo>
                  <a:pt x="669" y="548"/>
                </a:lnTo>
                <a:lnTo>
                  <a:pt x="678" y="554"/>
                </a:lnTo>
                <a:lnTo>
                  <a:pt x="686" y="562"/>
                </a:lnTo>
                <a:lnTo>
                  <a:pt x="694" y="568"/>
                </a:lnTo>
                <a:lnTo>
                  <a:pt x="701" y="576"/>
                </a:lnTo>
                <a:lnTo>
                  <a:pt x="713" y="589"/>
                </a:lnTo>
                <a:lnTo>
                  <a:pt x="723" y="603"/>
                </a:lnTo>
                <a:lnTo>
                  <a:pt x="731" y="617"/>
                </a:lnTo>
                <a:lnTo>
                  <a:pt x="739" y="631"/>
                </a:lnTo>
                <a:lnTo>
                  <a:pt x="744" y="646"/>
                </a:lnTo>
                <a:lnTo>
                  <a:pt x="749" y="662"/>
                </a:lnTo>
                <a:lnTo>
                  <a:pt x="751" y="678"/>
                </a:lnTo>
                <a:lnTo>
                  <a:pt x="753" y="694"/>
                </a:lnTo>
                <a:lnTo>
                  <a:pt x="743" y="695"/>
                </a:lnTo>
                <a:lnTo>
                  <a:pt x="734" y="698"/>
                </a:lnTo>
                <a:lnTo>
                  <a:pt x="725" y="701"/>
                </a:lnTo>
                <a:lnTo>
                  <a:pt x="716" y="706"/>
                </a:lnTo>
                <a:lnTo>
                  <a:pt x="709" y="710"/>
                </a:lnTo>
                <a:lnTo>
                  <a:pt x="701" y="715"/>
                </a:lnTo>
                <a:lnTo>
                  <a:pt x="695" y="722"/>
                </a:lnTo>
                <a:lnTo>
                  <a:pt x="689" y="728"/>
                </a:lnTo>
                <a:lnTo>
                  <a:pt x="682" y="736"/>
                </a:lnTo>
                <a:lnTo>
                  <a:pt x="678" y="743"/>
                </a:lnTo>
                <a:lnTo>
                  <a:pt x="672" y="752"/>
                </a:lnTo>
                <a:lnTo>
                  <a:pt x="669" y="760"/>
                </a:lnTo>
                <a:lnTo>
                  <a:pt x="666" y="769"/>
                </a:lnTo>
                <a:lnTo>
                  <a:pt x="664" y="779"/>
                </a:lnTo>
                <a:lnTo>
                  <a:pt x="663" y="788"/>
                </a:lnTo>
                <a:lnTo>
                  <a:pt x="663" y="798"/>
                </a:lnTo>
                <a:lnTo>
                  <a:pt x="663" y="809"/>
                </a:lnTo>
                <a:lnTo>
                  <a:pt x="665" y="819"/>
                </a:lnTo>
                <a:lnTo>
                  <a:pt x="667" y="829"/>
                </a:lnTo>
                <a:lnTo>
                  <a:pt x="670" y="839"/>
                </a:lnTo>
                <a:lnTo>
                  <a:pt x="675" y="848"/>
                </a:lnTo>
                <a:lnTo>
                  <a:pt x="680" y="857"/>
                </a:lnTo>
                <a:lnTo>
                  <a:pt x="686" y="864"/>
                </a:lnTo>
                <a:lnTo>
                  <a:pt x="693" y="872"/>
                </a:lnTo>
                <a:lnTo>
                  <a:pt x="700" y="879"/>
                </a:lnTo>
                <a:lnTo>
                  <a:pt x="709" y="885"/>
                </a:lnTo>
                <a:lnTo>
                  <a:pt x="718" y="890"/>
                </a:lnTo>
                <a:lnTo>
                  <a:pt x="727" y="894"/>
                </a:lnTo>
                <a:lnTo>
                  <a:pt x="737" y="899"/>
                </a:lnTo>
                <a:lnTo>
                  <a:pt x="746" y="901"/>
                </a:lnTo>
                <a:lnTo>
                  <a:pt x="757" y="902"/>
                </a:lnTo>
                <a:lnTo>
                  <a:pt x="768" y="903"/>
                </a:lnTo>
                <a:lnTo>
                  <a:pt x="779" y="902"/>
                </a:lnTo>
                <a:lnTo>
                  <a:pt x="789" y="901"/>
                </a:lnTo>
                <a:lnTo>
                  <a:pt x="799" y="899"/>
                </a:lnTo>
                <a:lnTo>
                  <a:pt x="809" y="894"/>
                </a:lnTo>
                <a:lnTo>
                  <a:pt x="818" y="890"/>
                </a:lnTo>
                <a:lnTo>
                  <a:pt x="827" y="885"/>
                </a:lnTo>
                <a:lnTo>
                  <a:pt x="834" y="879"/>
                </a:lnTo>
                <a:lnTo>
                  <a:pt x="842" y="872"/>
                </a:lnTo>
                <a:lnTo>
                  <a:pt x="849" y="864"/>
                </a:lnTo>
                <a:lnTo>
                  <a:pt x="855" y="857"/>
                </a:lnTo>
                <a:lnTo>
                  <a:pt x="860" y="848"/>
                </a:lnTo>
                <a:lnTo>
                  <a:pt x="864" y="839"/>
                </a:lnTo>
                <a:lnTo>
                  <a:pt x="869" y="829"/>
                </a:lnTo>
                <a:lnTo>
                  <a:pt x="871" y="819"/>
                </a:lnTo>
                <a:lnTo>
                  <a:pt x="873" y="809"/>
                </a:lnTo>
                <a:lnTo>
                  <a:pt x="873" y="798"/>
                </a:lnTo>
                <a:lnTo>
                  <a:pt x="873" y="788"/>
                </a:lnTo>
                <a:lnTo>
                  <a:pt x="871" y="779"/>
                </a:lnTo>
                <a:lnTo>
                  <a:pt x="869" y="769"/>
                </a:lnTo>
                <a:lnTo>
                  <a:pt x="867" y="760"/>
                </a:lnTo>
                <a:lnTo>
                  <a:pt x="862" y="752"/>
                </a:lnTo>
                <a:lnTo>
                  <a:pt x="858" y="743"/>
                </a:lnTo>
                <a:lnTo>
                  <a:pt x="853" y="736"/>
                </a:lnTo>
                <a:lnTo>
                  <a:pt x="847" y="728"/>
                </a:lnTo>
                <a:lnTo>
                  <a:pt x="841" y="722"/>
                </a:lnTo>
                <a:lnTo>
                  <a:pt x="833" y="715"/>
                </a:lnTo>
                <a:lnTo>
                  <a:pt x="826" y="710"/>
                </a:lnTo>
                <a:lnTo>
                  <a:pt x="818" y="706"/>
                </a:lnTo>
                <a:lnTo>
                  <a:pt x="810" y="701"/>
                </a:lnTo>
                <a:lnTo>
                  <a:pt x="801" y="698"/>
                </a:lnTo>
                <a:lnTo>
                  <a:pt x="792" y="695"/>
                </a:lnTo>
                <a:lnTo>
                  <a:pt x="783" y="69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pic>
        <p:nvPicPr>
          <p:cNvPr id="37" name="Graphic 37" descr="남자 프로필">
            <a:extLst>
              <a:ext uri="{FF2B5EF4-FFF2-40B4-BE49-F238E27FC236}">
                <a16:creationId xmlns:a16="http://schemas.microsoft.com/office/drawing/2014/main" id="{A3AFCC4D-388F-4873-A515-5AF32D30C8F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45958" y="146785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9014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 panose="020B0A02040204020203" pitchFamily="34" charset="0"/>
                <a:cs typeface="Segoe UI"/>
              </a:rPr>
              <a:t>HOW?</a:t>
            </a:r>
            <a:endParaRPr lang="en-US" sz="540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9/4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5</a:t>
            </a:fld>
            <a:endParaRPr lang="en-US"/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E1660D60-9576-4400-BF79-6B668ECC8F07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rame 4">
            <a:extLst>
              <a:ext uri="{FF2B5EF4-FFF2-40B4-BE49-F238E27FC236}">
                <a16:creationId xmlns:a16="http://schemas.microsoft.com/office/drawing/2014/main" id="{56732E5D-007A-42AD-A138-F84C8324AF46}"/>
              </a:ext>
            </a:extLst>
          </p:cNvPr>
          <p:cNvSpPr/>
          <p:nvPr/>
        </p:nvSpPr>
        <p:spPr>
          <a:xfrm>
            <a:off x="4769827" y="1594698"/>
            <a:ext cx="4438594" cy="4438595"/>
          </a:xfrm>
          <a:prstGeom prst="frame">
            <a:avLst>
              <a:gd name="adj1" fmla="val 1546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81EB4D29-8572-4A3F-AF42-641FC32AF1B0}"/>
              </a:ext>
            </a:extLst>
          </p:cNvPr>
          <p:cNvSpPr/>
          <p:nvPr/>
        </p:nvSpPr>
        <p:spPr>
          <a:xfrm>
            <a:off x="4502377" y="3897058"/>
            <a:ext cx="2346708" cy="2346709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BD78E6BF-DFA1-4DF3-A1D9-17BCCA735516}"/>
              </a:ext>
            </a:extLst>
          </p:cNvPr>
          <p:cNvSpPr/>
          <p:nvPr/>
        </p:nvSpPr>
        <p:spPr>
          <a:xfrm>
            <a:off x="4502377" y="1249233"/>
            <a:ext cx="2346708" cy="2346709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47E0D39-07B6-4C6A-A88B-6F5BE474C98A}"/>
              </a:ext>
            </a:extLst>
          </p:cNvPr>
          <p:cNvSpPr/>
          <p:nvPr/>
        </p:nvSpPr>
        <p:spPr>
          <a:xfrm>
            <a:off x="7129163" y="1249233"/>
            <a:ext cx="2346708" cy="2346709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6421084A-5842-4DE1-B073-90EB0221F392}"/>
              </a:ext>
            </a:extLst>
          </p:cNvPr>
          <p:cNvSpPr/>
          <p:nvPr/>
        </p:nvSpPr>
        <p:spPr>
          <a:xfrm>
            <a:off x="7129163" y="3897058"/>
            <a:ext cx="2346708" cy="2346709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D8269BD7-7FF5-49A3-92B6-C2E592BAAB19}"/>
              </a:ext>
            </a:extLst>
          </p:cNvPr>
          <p:cNvSpPr/>
          <p:nvPr/>
        </p:nvSpPr>
        <p:spPr>
          <a:xfrm rot="16200000">
            <a:off x="8607720" y="1485582"/>
            <a:ext cx="868150" cy="8681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5562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: Top Corners Rounded 74">
            <a:extLst>
              <a:ext uri="{FF2B5EF4-FFF2-40B4-BE49-F238E27FC236}">
                <a16:creationId xmlns:a16="http://schemas.microsoft.com/office/drawing/2014/main" id="{A6F78B7C-33CC-43C7-BC98-1CBAEAD0195E}"/>
              </a:ext>
            </a:extLst>
          </p:cNvPr>
          <p:cNvSpPr/>
          <p:nvPr/>
        </p:nvSpPr>
        <p:spPr>
          <a:xfrm rot="5400000" flipH="1">
            <a:off x="4502377" y="1485582"/>
            <a:ext cx="868150" cy="8681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6B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: Top Corners Rounded 82">
            <a:extLst>
              <a:ext uri="{FF2B5EF4-FFF2-40B4-BE49-F238E27FC236}">
                <a16:creationId xmlns:a16="http://schemas.microsoft.com/office/drawing/2014/main" id="{8476C31C-3E94-4397-9AF4-61F2CCD11B6B}"/>
              </a:ext>
            </a:extLst>
          </p:cNvPr>
          <p:cNvSpPr/>
          <p:nvPr/>
        </p:nvSpPr>
        <p:spPr>
          <a:xfrm rot="16200000">
            <a:off x="8607720" y="5274259"/>
            <a:ext cx="868150" cy="86815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: Top Corners Rounded 83">
            <a:extLst>
              <a:ext uri="{FF2B5EF4-FFF2-40B4-BE49-F238E27FC236}">
                <a16:creationId xmlns:a16="http://schemas.microsoft.com/office/drawing/2014/main" id="{185893A6-9141-4CF1-97D5-24444F2A937E}"/>
              </a:ext>
            </a:extLst>
          </p:cNvPr>
          <p:cNvSpPr/>
          <p:nvPr/>
        </p:nvSpPr>
        <p:spPr>
          <a:xfrm rot="5400000" flipH="1">
            <a:off x="4502377" y="5274259"/>
            <a:ext cx="868150" cy="8681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280E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994D7FA4-2509-4AD5-989C-5919121830A5}"/>
              </a:ext>
            </a:extLst>
          </p:cNvPr>
          <p:cNvSpPr txBox="1"/>
          <p:nvPr/>
        </p:nvSpPr>
        <p:spPr>
          <a:xfrm>
            <a:off x="4747766" y="2769864"/>
            <a:ext cx="185593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ko-KR" alt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강의 검색 기능 강화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AF9486EE-2128-45BF-A288-8E733FF7DA65}"/>
              </a:ext>
            </a:extLst>
          </p:cNvPr>
          <p:cNvSpPr txBox="1"/>
          <p:nvPr/>
        </p:nvSpPr>
        <p:spPr>
          <a:xfrm>
            <a:off x="7368287" y="2646755"/>
            <a:ext cx="1855930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언어별, 난이도별 강의 분류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A5A57BFA-86EB-4C71-803F-82E3FB7203B1}"/>
              </a:ext>
            </a:extLst>
          </p:cNvPr>
          <p:cNvSpPr txBox="1"/>
          <p:nvPr/>
        </p:nvSpPr>
        <p:spPr>
          <a:xfrm>
            <a:off x="4747766" y="4201721"/>
            <a:ext cx="1855930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강사님이 직접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답변해주는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  <a:p>
            <a:pPr algn="ctr">
              <a:buClr>
                <a:schemeClr val="accent1"/>
              </a:buClr>
            </a:pPr>
            <a:r>
              <a:rPr lang="en-US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바탕"/>
              </a:rPr>
              <a:t>Q&amp;A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8DE73FB-04A0-4754-8474-92EA0531D108}"/>
              </a:ext>
            </a:extLst>
          </p:cNvPr>
          <p:cNvSpPr txBox="1"/>
          <p:nvPr/>
        </p:nvSpPr>
        <p:spPr>
          <a:xfrm>
            <a:off x="7368287" y="4201721"/>
            <a:ext cx="1855930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ko-KR" alt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코딩 테스트</a:t>
            </a:r>
          </a:p>
          <a:p>
            <a:pPr algn="ctr">
              <a:buClr>
                <a:schemeClr val="accent1"/>
              </a:buClr>
            </a:pPr>
            <a:r>
              <a:rPr lang="ko-KR" alt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채용 담당자도 응시자도 간편하게!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16F164ED-062F-4495-9BCE-350F75FD7325}"/>
              </a:ext>
            </a:extLst>
          </p:cNvPr>
          <p:cNvSpPr txBox="1"/>
          <p:nvPr/>
        </p:nvSpPr>
        <p:spPr>
          <a:xfrm>
            <a:off x="5370526" y="1742694"/>
            <a:ext cx="1233169" cy="6771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en-US" sz="4400">
                <a:solidFill>
                  <a:schemeClr val="tx1">
                    <a:lumMod val="75000"/>
                    <a:lumOff val="25000"/>
                  </a:schemeClr>
                </a:solidFill>
              </a:rPr>
              <a:t>01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901CCD74-1A15-437B-A90A-8BE98B701B51}"/>
              </a:ext>
            </a:extLst>
          </p:cNvPr>
          <p:cNvSpPr txBox="1"/>
          <p:nvPr/>
        </p:nvSpPr>
        <p:spPr>
          <a:xfrm>
            <a:off x="7368287" y="1742694"/>
            <a:ext cx="1239432" cy="6771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4400">
                <a:solidFill>
                  <a:schemeClr val="tx1">
                    <a:lumMod val="75000"/>
                    <a:lumOff val="25000"/>
                  </a:schemeClr>
                </a:solidFill>
              </a:rPr>
              <a:t>02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95625578-B3A9-40B4-9A23-CC7725E9B6C5}"/>
              </a:ext>
            </a:extLst>
          </p:cNvPr>
          <p:cNvSpPr txBox="1"/>
          <p:nvPr/>
        </p:nvSpPr>
        <p:spPr>
          <a:xfrm>
            <a:off x="5370526" y="5099437"/>
            <a:ext cx="1233169" cy="6771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en-US" sz="4400">
                <a:solidFill>
                  <a:schemeClr val="tx1">
                    <a:lumMod val="75000"/>
                    <a:lumOff val="25000"/>
                  </a:schemeClr>
                </a:solidFill>
              </a:rPr>
              <a:t>03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BCFDC610-FBC5-4F4B-B132-ACDD098C3145}"/>
              </a:ext>
            </a:extLst>
          </p:cNvPr>
          <p:cNvSpPr txBox="1"/>
          <p:nvPr/>
        </p:nvSpPr>
        <p:spPr>
          <a:xfrm>
            <a:off x="7368287" y="5099437"/>
            <a:ext cx="1239432" cy="6771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4400">
                <a:solidFill>
                  <a:schemeClr val="tx1">
                    <a:lumMod val="75000"/>
                    <a:lumOff val="25000"/>
                  </a:schemeClr>
                </a:solidFill>
              </a:rPr>
              <a:t>04</a:t>
            </a: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E06777DF-561F-4268-A51B-7C41E7E9EAA0}"/>
              </a:ext>
            </a:extLst>
          </p:cNvPr>
          <p:cNvGrpSpPr/>
          <p:nvPr/>
        </p:nvGrpSpPr>
        <p:grpSpPr>
          <a:xfrm>
            <a:off x="8895929" y="5568317"/>
            <a:ext cx="282575" cy="282575"/>
            <a:chOff x="9318625" y="771526"/>
            <a:chExt cx="282575" cy="282575"/>
          </a:xfrm>
          <a:solidFill>
            <a:schemeClr val="bg1"/>
          </a:solidFill>
        </p:grpSpPr>
        <p:sp>
          <p:nvSpPr>
            <p:cNvPr id="98" name="Freeform 177">
              <a:extLst>
                <a:ext uri="{FF2B5EF4-FFF2-40B4-BE49-F238E27FC236}">
                  <a16:creationId xmlns:a16="http://schemas.microsoft.com/office/drawing/2014/main" id="{B139BF9F-D279-4049-90D0-41FC1E57A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8625" y="798513"/>
              <a:ext cx="236537" cy="255588"/>
            </a:xfrm>
            <a:custGeom>
              <a:avLst/>
              <a:gdLst>
                <a:gd name="T0" fmla="*/ 729 w 747"/>
                <a:gd name="T1" fmla="*/ 306 h 806"/>
                <a:gd name="T2" fmla="*/ 723 w 747"/>
                <a:gd name="T3" fmla="*/ 308 h 806"/>
                <a:gd name="T4" fmla="*/ 720 w 747"/>
                <a:gd name="T5" fmla="*/ 312 h 806"/>
                <a:gd name="T6" fmla="*/ 717 w 747"/>
                <a:gd name="T7" fmla="*/ 318 h 806"/>
                <a:gd name="T8" fmla="*/ 717 w 747"/>
                <a:gd name="T9" fmla="*/ 776 h 806"/>
                <a:gd name="T10" fmla="*/ 30 w 747"/>
                <a:gd name="T11" fmla="*/ 30 h 806"/>
                <a:gd name="T12" fmla="*/ 621 w 747"/>
                <a:gd name="T13" fmla="*/ 29 h 806"/>
                <a:gd name="T14" fmla="*/ 626 w 747"/>
                <a:gd name="T15" fmla="*/ 27 h 806"/>
                <a:gd name="T16" fmla="*/ 630 w 747"/>
                <a:gd name="T17" fmla="*/ 22 h 806"/>
                <a:gd name="T18" fmla="*/ 632 w 747"/>
                <a:gd name="T19" fmla="*/ 17 h 806"/>
                <a:gd name="T20" fmla="*/ 632 w 747"/>
                <a:gd name="T21" fmla="*/ 12 h 806"/>
                <a:gd name="T22" fmla="*/ 630 w 747"/>
                <a:gd name="T23" fmla="*/ 6 h 806"/>
                <a:gd name="T24" fmla="*/ 626 w 747"/>
                <a:gd name="T25" fmla="*/ 2 h 806"/>
                <a:gd name="T26" fmla="*/ 621 w 747"/>
                <a:gd name="T27" fmla="*/ 0 h 806"/>
                <a:gd name="T28" fmla="*/ 15 w 747"/>
                <a:gd name="T29" fmla="*/ 0 h 806"/>
                <a:gd name="T30" fmla="*/ 9 w 747"/>
                <a:gd name="T31" fmla="*/ 1 h 806"/>
                <a:gd name="T32" fmla="*/ 5 w 747"/>
                <a:gd name="T33" fmla="*/ 4 h 806"/>
                <a:gd name="T34" fmla="*/ 1 w 747"/>
                <a:gd name="T35" fmla="*/ 9 h 806"/>
                <a:gd name="T36" fmla="*/ 0 w 747"/>
                <a:gd name="T37" fmla="*/ 15 h 806"/>
                <a:gd name="T38" fmla="*/ 0 w 747"/>
                <a:gd name="T39" fmla="*/ 794 h 806"/>
                <a:gd name="T40" fmla="*/ 2 w 747"/>
                <a:gd name="T41" fmla="*/ 800 h 806"/>
                <a:gd name="T42" fmla="*/ 7 w 747"/>
                <a:gd name="T43" fmla="*/ 804 h 806"/>
                <a:gd name="T44" fmla="*/ 12 w 747"/>
                <a:gd name="T45" fmla="*/ 806 h 806"/>
                <a:gd name="T46" fmla="*/ 732 w 747"/>
                <a:gd name="T47" fmla="*/ 806 h 806"/>
                <a:gd name="T48" fmla="*/ 738 w 747"/>
                <a:gd name="T49" fmla="*/ 805 h 806"/>
                <a:gd name="T50" fmla="*/ 743 w 747"/>
                <a:gd name="T51" fmla="*/ 802 h 806"/>
                <a:gd name="T52" fmla="*/ 746 w 747"/>
                <a:gd name="T53" fmla="*/ 798 h 806"/>
                <a:gd name="T54" fmla="*/ 747 w 747"/>
                <a:gd name="T55" fmla="*/ 791 h 806"/>
                <a:gd name="T56" fmla="*/ 747 w 747"/>
                <a:gd name="T57" fmla="*/ 318 h 806"/>
                <a:gd name="T58" fmla="*/ 745 w 747"/>
                <a:gd name="T59" fmla="*/ 312 h 806"/>
                <a:gd name="T60" fmla="*/ 741 w 747"/>
                <a:gd name="T61" fmla="*/ 308 h 806"/>
                <a:gd name="T62" fmla="*/ 735 w 747"/>
                <a:gd name="T63" fmla="*/ 306 h 806"/>
                <a:gd name="T64" fmla="*/ 732 w 747"/>
                <a:gd name="T65" fmla="*/ 306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7" h="806">
                  <a:moveTo>
                    <a:pt x="732" y="306"/>
                  </a:moveTo>
                  <a:lnTo>
                    <a:pt x="729" y="306"/>
                  </a:lnTo>
                  <a:lnTo>
                    <a:pt x="727" y="307"/>
                  </a:lnTo>
                  <a:lnTo>
                    <a:pt x="723" y="308"/>
                  </a:lnTo>
                  <a:lnTo>
                    <a:pt x="721" y="310"/>
                  </a:lnTo>
                  <a:lnTo>
                    <a:pt x="720" y="312"/>
                  </a:lnTo>
                  <a:lnTo>
                    <a:pt x="718" y="314"/>
                  </a:lnTo>
                  <a:lnTo>
                    <a:pt x="717" y="318"/>
                  </a:lnTo>
                  <a:lnTo>
                    <a:pt x="717" y="321"/>
                  </a:lnTo>
                  <a:lnTo>
                    <a:pt x="717" y="776"/>
                  </a:lnTo>
                  <a:lnTo>
                    <a:pt x="30" y="776"/>
                  </a:lnTo>
                  <a:lnTo>
                    <a:pt x="30" y="30"/>
                  </a:lnTo>
                  <a:lnTo>
                    <a:pt x="617" y="30"/>
                  </a:lnTo>
                  <a:lnTo>
                    <a:pt x="621" y="29"/>
                  </a:lnTo>
                  <a:lnTo>
                    <a:pt x="624" y="28"/>
                  </a:lnTo>
                  <a:lnTo>
                    <a:pt x="626" y="27"/>
                  </a:lnTo>
                  <a:lnTo>
                    <a:pt x="628" y="25"/>
                  </a:lnTo>
                  <a:lnTo>
                    <a:pt x="630" y="22"/>
                  </a:lnTo>
                  <a:lnTo>
                    <a:pt x="631" y="20"/>
                  </a:lnTo>
                  <a:lnTo>
                    <a:pt x="632" y="17"/>
                  </a:lnTo>
                  <a:lnTo>
                    <a:pt x="632" y="15"/>
                  </a:lnTo>
                  <a:lnTo>
                    <a:pt x="632" y="12"/>
                  </a:lnTo>
                  <a:lnTo>
                    <a:pt x="631" y="9"/>
                  </a:lnTo>
                  <a:lnTo>
                    <a:pt x="630" y="6"/>
                  </a:lnTo>
                  <a:lnTo>
                    <a:pt x="628" y="4"/>
                  </a:lnTo>
                  <a:lnTo>
                    <a:pt x="626" y="2"/>
                  </a:lnTo>
                  <a:lnTo>
                    <a:pt x="624" y="1"/>
                  </a:lnTo>
                  <a:lnTo>
                    <a:pt x="621" y="0"/>
                  </a:lnTo>
                  <a:lnTo>
                    <a:pt x="61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791"/>
                  </a:lnTo>
                  <a:lnTo>
                    <a:pt x="0" y="794"/>
                  </a:lnTo>
                  <a:lnTo>
                    <a:pt x="1" y="798"/>
                  </a:lnTo>
                  <a:lnTo>
                    <a:pt x="2" y="800"/>
                  </a:lnTo>
                  <a:lnTo>
                    <a:pt x="5" y="802"/>
                  </a:lnTo>
                  <a:lnTo>
                    <a:pt x="7" y="804"/>
                  </a:lnTo>
                  <a:lnTo>
                    <a:pt x="9" y="805"/>
                  </a:lnTo>
                  <a:lnTo>
                    <a:pt x="12" y="806"/>
                  </a:lnTo>
                  <a:lnTo>
                    <a:pt x="15" y="806"/>
                  </a:lnTo>
                  <a:lnTo>
                    <a:pt x="732" y="806"/>
                  </a:lnTo>
                  <a:lnTo>
                    <a:pt x="735" y="806"/>
                  </a:lnTo>
                  <a:lnTo>
                    <a:pt x="738" y="805"/>
                  </a:lnTo>
                  <a:lnTo>
                    <a:pt x="741" y="804"/>
                  </a:lnTo>
                  <a:lnTo>
                    <a:pt x="743" y="802"/>
                  </a:lnTo>
                  <a:lnTo>
                    <a:pt x="745" y="800"/>
                  </a:lnTo>
                  <a:lnTo>
                    <a:pt x="746" y="798"/>
                  </a:lnTo>
                  <a:lnTo>
                    <a:pt x="747" y="794"/>
                  </a:lnTo>
                  <a:lnTo>
                    <a:pt x="747" y="791"/>
                  </a:lnTo>
                  <a:lnTo>
                    <a:pt x="747" y="321"/>
                  </a:lnTo>
                  <a:lnTo>
                    <a:pt x="747" y="318"/>
                  </a:lnTo>
                  <a:lnTo>
                    <a:pt x="746" y="314"/>
                  </a:lnTo>
                  <a:lnTo>
                    <a:pt x="745" y="312"/>
                  </a:lnTo>
                  <a:lnTo>
                    <a:pt x="743" y="310"/>
                  </a:lnTo>
                  <a:lnTo>
                    <a:pt x="741" y="308"/>
                  </a:lnTo>
                  <a:lnTo>
                    <a:pt x="738" y="307"/>
                  </a:lnTo>
                  <a:lnTo>
                    <a:pt x="735" y="306"/>
                  </a:lnTo>
                  <a:lnTo>
                    <a:pt x="732" y="306"/>
                  </a:lnTo>
                  <a:lnTo>
                    <a:pt x="732" y="3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178">
              <a:extLst>
                <a:ext uri="{FF2B5EF4-FFF2-40B4-BE49-F238E27FC236}">
                  <a16:creationId xmlns:a16="http://schemas.microsoft.com/office/drawing/2014/main" id="{56100A4B-E55A-44EA-ADFB-41A926D8FC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42450" y="771526"/>
              <a:ext cx="158750" cy="160338"/>
            </a:xfrm>
            <a:custGeom>
              <a:avLst/>
              <a:gdLst>
                <a:gd name="T0" fmla="*/ 433 w 503"/>
                <a:gd name="T1" fmla="*/ 110 h 504"/>
                <a:gd name="T2" fmla="*/ 429 w 503"/>
                <a:gd name="T3" fmla="*/ 37 h 504"/>
                <a:gd name="T4" fmla="*/ 435 w 503"/>
                <a:gd name="T5" fmla="*/ 31 h 504"/>
                <a:gd name="T6" fmla="*/ 442 w 503"/>
                <a:gd name="T7" fmla="*/ 30 h 504"/>
                <a:gd name="T8" fmla="*/ 451 w 503"/>
                <a:gd name="T9" fmla="*/ 31 h 504"/>
                <a:gd name="T10" fmla="*/ 460 w 503"/>
                <a:gd name="T11" fmla="*/ 36 h 504"/>
                <a:gd name="T12" fmla="*/ 466 w 503"/>
                <a:gd name="T13" fmla="*/ 43 h 504"/>
                <a:gd name="T14" fmla="*/ 471 w 503"/>
                <a:gd name="T15" fmla="*/ 52 h 504"/>
                <a:gd name="T16" fmla="*/ 473 w 503"/>
                <a:gd name="T17" fmla="*/ 65 h 504"/>
                <a:gd name="T18" fmla="*/ 467 w 503"/>
                <a:gd name="T19" fmla="*/ 75 h 504"/>
                <a:gd name="T20" fmla="*/ 111 w 503"/>
                <a:gd name="T21" fmla="*/ 431 h 504"/>
                <a:gd name="T22" fmla="*/ 72 w 503"/>
                <a:gd name="T23" fmla="*/ 393 h 504"/>
                <a:gd name="T24" fmla="*/ 411 w 503"/>
                <a:gd name="T25" fmla="*/ 131 h 504"/>
                <a:gd name="T26" fmla="*/ 499 w 503"/>
                <a:gd name="T27" fmla="*/ 40 h 504"/>
                <a:gd name="T28" fmla="*/ 489 w 503"/>
                <a:gd name="T29" fmla="*/ 24 h 504"/>
                <a:gd name="T30" fmla="*/ 476 w 503"/>
                <a:gd name="T31" fmla="*/ 11 h 504"/>
                <a:gd name="T32" fmla="*/ 460 w 503"/>
                <a:gd name="T33" fmla="*/ 4 h 504"/>
                <a:gd name="T34" fmla="*/ 442 w 503"/>
                <a:gd name="T35" fmla="*/ 0 h 504"/>
                <a:gd name="T36" fmla="*/ 424 w 503"/>
                <a:gd name="T37" fmla="*/ 4 h 504"/>
                <a:gd name="T38" fmla="*/ 407 w 503"/>
                <a:gd name="T39" fmla="*/ 15 h 504"/>
                <a:gd name="T40" fmla="*/ 47 w 503"/>
                <a:gd name="T41" fmla="*/ 376 h 504"/>
                <a:gd name="T42" fmla="*/ 1 w 503"/>
                <a:gd name="T43" fmla="*/ 483 h 504"/>
                <a:gd name="T44" fmla="*/ 0 w 503"/>
                <a:gd name="T45" fmla="*/ 492 h 504"/>
                <a:gd name="T46" fmla="*/ 4 w 503"/>
                <a:gd name="T47" fmla="*/ 500 h 504"/>
                <a:gd name="T48" fmla="*/ 9 w 503"/>
                <a:gd name="T49" fmla="*/ 503 h 504"/>
                <a:gd name="T50" fmla="*/ 15 w 503"/>
                <a:gd name="T51" fmla="*/ 504 h 504"/>
                <a:gd name="T52" fmla="*/ 20 w 503"/>
                <a:gd name="T53" fmla="*/ 503 h 504"/>
                <a:gd name="T54" fmla="*/ 127 w 503"/>
                <a:gd name="T55" fmla="*/ 457 h 504"/>
                <a:gd name="T56" fmla="*/ 488 w 503"/>
                <a:gd name="T57" fmla="*/ 96 h 504"/>
                <a:gd name="T58" fmla="*/ 497 w 503"/>
                <a:gd name="T59" fmla="*/ 84 h 504"/>
                <a:gd name="T60" fmla="*/ 502 w 503"/>
                <a:gd name="T61" fmla="*/ 70 h 504"/>
                <a:gd name="T62" fmla="*/ 503 w 503"/>
                <a:gd name="T63" fmla="*/ 55 h 504"/>
                <a:gd name="T64" fmla="*/ 499 w 503"/>
                <a:gd name="T65" fmla="*/ 40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03" h="504">
                  <a:moveTo>
                    <a:pt x="467" y="75"/>
                  </a:moveTo>
                  <a:lnTo>
                    <a:pt x="433" y="110"/>
                  </a:lnTo>
                  <a:lnTo>
                    <a:pt x="394" y="71"/>
                  </a:lnTo>
                  <a:lnTo>
                    <a:pt x="429" y="37"/>
                  </a:lnTo>
                  <a:lnTo>
                    <a:pt x="432" y="34"/>
                  </a:lnTo>
                  <a:lnTo>
                    <a:pt x="435" y="31"/>
                  </a:lnTo>
                  <a:lnTo>
                    <a:pt x="439" y="30"/>
                  </a:lnTo>
                  <a:lnTo>
                    <a:pt x="442" y="30"/>
                  </a:lnTo>
                  <a:lnTo>
                    <a:pt x="447" y="30"/>
                  </a:lnTo>
                  <a:lnTo>
                    <a:pt x="451" y="31"/>
                  </a:lnTo>
                  <a:lnTo>
                    <a:pt x="455" y="34"/>
                  </a:lnTo>
                  <a:lnTo>
                    <a:pt x="460" y="36"/>
                  </a:lnTo>
                  <a:lnTo>
                    <a:pt x="463" y="39"/>
                  </a:lnTo>
                  <a:lnTo>
                    <a:pt x="466" y="43"/>
                  </a:lnTo>
                  <a:lnTo>
                    <a:pt x="469" y="48"/>
                  </a:lnTo>
                  <a:lnTo>
                    <a:pt x="471" y="52"/>
                  </a:lnTo>
                  <a:lnTo>
                    <a:pt x="473" y="58"/>
                  </a:lnTo>
                  <a:lnTo>
                    <a:pt x="473" y="65"/>
                  </a:lnTo>
                  <a:lnTo>
                    <a:pt x="471" y="70"/>
                  </a:lnTo>
                  <a:lnTo>
                    <a:pt x="467" y="75"/>
                  </a:lnTo>
                  <a:lnTo>
                    <a:pt x="467" y="75"/>
                  </a:lnTo>
                  <a:close/>
                  <a:moveTo>
                    <a:pt x="111" y="431"/>
                  </a:moveTo>
                  <a:lnTo>
                    <a:pt x="42" y="460"/>
                  </a:lnTo>
                  <a:lnTo>
                    <a:pt x="72" y="393"/>
                  </a:lnTo>
                  <a:lnTo>
                    <a:pt x="373" y="91"/>
                  </a:lnTo>
                  <a:lnTo>
                    <a:pt x="411" y="131"/>
                  </a:lnTo>
                  <a:lnTo>
                    <a:pt x="111" y="431"/>
                  </a:lnTo>
                  <a:close/>
                  <a:moveTo>
                    <a:pt x="499" y="40"/>
                  </a:moveTo>
                  <a:lnTo>
                    <a:pt x="495" y="31"/>
                  </a:lnTo>
                  <a:lnTo>
                    <a:pt x="489" y="24"/>
                  </a:lnTo>
                  <a:lnTo>
                    <a:pt x="483" y="18"/>
                  </a:lnTo>
                  <a:lnTo>
                    <a:pt x="476" y="11"/>
                  </a:lnTo>
                  <a:lnTo>
                    <a:pt x="468" y="7"/>
                  </a:lnTo>
                  <a:lnTo>
                    <a:pt x="460" y="4"/>
                  </a:lnTo>
                  <a:lnTo>
                    <a:pt x="451" y="0"/>
                  </a:lnTo>
                  <a:lnTo>
                    <a:pt x="442" y="0"/>
                  </a:lnTo>
                  <a:lnTo>
                    <a:pt x="433" y="2"/>
                  </a:lnTo>
                  <a:lnTo>
                    <a:pt x="424" y="4"/>
                  </a:lnTo>
                  <a:lnTo>
                    <a:pt x="415" y="9"/>
                  </a:lnTo>
                  <a:lnTo>
                    <a:pt x="407" y="15"/>
                  </a:lnTo>
                  <a:lnTo>
                    <a:pt x="49" y="374"/>
                  </a:lnTo>
                  <a:lnTo>
                    <a:pt x="47" y="376"/>
                  </a:lnTo>
                  <a:lnTo>
                    <a:pt x="46" y="379"/>
                  </a:lnTo>
                  <a:lnTo>
                    <a:pt x="1" y="483"/>
                  </a:lnTo>
                  <a:lnTo>
                    <a:pt x="0" y="487"/>
                  </a:lnTo>
                  <a:lnTo>
                    <a:pt x="0" y="492"/>
                  </a:lnTo>
                  <a:lnTo>
                    <a:pt x="1" y="496"/>
                  </a:lnTo>
                  <a:lnTo>
                    <a:pt x="4" y="500"/>
                  </a:lnTo>
                  <a:lnTo>
                    <a:pt x="6" y="502"/>
                  </a:lnTo>
                  <a:lnTo>
                    <a:pt x="9" y="503"/>
                  </a:lnTo>
                  <a:lnTo>
                    <a:pt x="11" y="504"/>
                  </a:lnTo>
                  <a:lnTo>
                    <a:pt x="15" y="504"/>
                  </a:lnTo>
                  <a:lnTo>
                    <a:pt x="18" y="504"/>
                  </a:lnTo>
                  <a:lnTo>
                    <a:pt x="20" y="503"/>
                  </a:lnTo>
                  <a:lnTo>
                    <a:pt x="125" y="458"/>
                  </a:lnTo>
                  <a:lnTo>
                    <a:pt x="127" y="457"/>
                  </a:lnTo>
                  <a:lnTo>
                    <a:pt x="129" y="455"/>
                  </a:lnTo>
                  <a:lnTo>
                    <a:pt x="488" y="96"/>
                  </a:lnTo>
                  <a:lnTo>
                    <a:pt x="494" y="90"/>
                  </a:lnTo>
                  <a:lnTo>
                    <a:pt x="497" y="84"/>
                  </a:lnTo>
                  <a:lnTo>
                    <a:pt x="500" y="77"/>
                  </a:lnTo>
                  <a:lnTo>
                    <a:pt x="502" y="70"/>
                  </a:lnTo>
                  <a:lnTo>
                    <a:pt x="503" y="63"/>
                  </a:lnTo>
                  <a:lnTo>
                    <a:pt x="503" y="55"/>
                  </a:lnTo>
                  <a:lnTo>
                    <a:pt x="501" y="48"/>
                  </a:lnTo>
                  <a:lnTo>
                    <a:pt x="499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F30512E9-71FD-401A-ABE8-2F58C07CDC09}"/>
              </a:ext>
            </a:extLst>
          </p:cNvPr>
          <p:cNvGrpSpPr/>
          <p:nvPr/>
        </p:nvGrpSpPr>
        <p:grpSpPr>
          <a:xfrm>
            <a:off x="4798951" y="1737763"/>
            <a:ext cx="284162" cy="263525"/>
            <a:chOff x="9888538" y="2498726"/>
            <a:chExt cx="284162" cy="263525"/>
          </a:xfrm>
          <a:solidFill>
            <a:schemeClr val="bg1"/>
          </a:solidFill>
        </p:grpSpPr>
        <p:sp>
          <p:nvSpPr>
            <p:cNvPr id="102" name="Freeform 274">
              <a:extLst>
                <a:ext uri="{FF2B5EF4-FFF2-40B4-BE49-F238E27FC236}">
                  <a16:creationId xmlns:a16="http://schemas.microsoft.com/office/drawing/2014/main" id="{725FE9E2-F4BA-4F4C-93E7-876FEBB0A0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88538" y="2498726"/>
              <a:ext cx="284162" cy="263525"/>
            </a:xfrm>
            <a:custGeom>
              <a:avLst/>
              <a:gdLst>
                <a:gd name="T0" fmla="*/ 573 w 896"/>
                <a:gd name="T1" fmla="*/ 758 h 829"/>
                <a:gd name="T2" fmla="*/ 509 w 896"/>
                <a:gd name="T3" fmla="*/ 637 h 829"/>
                <a:gd name="T4" fmla="*/ 549 w 896"/>
                <a:gd name="T5" fmla="*/ 506 h 829"/>
                <a:gd name="T6" fmla="*/ 670 w 896"/>
                <a:gd name="T7" fmla="*/ 441 h 829"/>
                <a:gd name="T8" fmla="*/ 801 w 896"/>
                <a:gd name="T9" fmla="*/ 481 h 829"/>
                <a:gd name="T10" fmla="*/ 867 w 896"/>
                <a:gd name="T11" fmla="*/ 601 h 829"/>
                <a:gd name="T12" fmla="*/ 826 w 896"/>
                <a:gd name="T13" fmla="*/ 734 h 829"/>
                <a:gd name="T14" fmla="*/ 706 w 896"/>
                <a:gd name="T15" fmla="*/ 798 h 829"/>
                <a:gd name="T16" fmla="*/ 109 w 896"/>
                <a:gd name="T17" fmla="*/ 768 h 829"/>
                <a:gd name="T18" fmla="*/ 33 w 896"/>
                <a:gd name="T19" fmla="*/ 655 h 829"/>
                <a:gd name="T20" fmla="*/ 61 w 896"/>
                <a:gd name="T21" fmla="*/ 520 h 829"/>
                <a:gd name="T22" fmla="*/ 173 w 896"/>
                <a:gd name="T23" fmla="*/ 444 h 829"/>
                <a:gd name="T24" fmla="*/ 309 w 896"/>
                <a:gd name="T25" fmla="*/ 471 h 829"/>
                <a:gd name="T26" fmla="*/ 385 w 896"/>
                <a:gd name="T27" fmla="*/ 583 h 829"/>
                <a:gd name="T28" fmla="*/ 358 w 896"/>
                <a:gd name="T29" fmla="*/ 720 h 829"/>
                <a:gd name="T30" fmla="*/ 245 w 896"/>
                <a:gd name="T31" fmla="*/ 795 h 829"/>
                <a:gd name="T32" fmla="*/ 744 w 896"/>
                <a:gd name="T33" fmla="*/ 235 h 829"/>
                <a:gd name="T34" fmla="*/ 596 w 896"/>
                <a:gd name="T35" fmla="*/ 8 h 829"/>
                <a:gd name="T36" fmla="*/ 516 w 896"/>
                <a:gd name="T37" fmla="*/ 8 h 829"/>
                <a:gd name="T38" fmla="*/ 478 w 896"/>
                <a:gd name="T39" fmla="*/ 36 h 829"/>
                <a:gd name="T40" fmla="*/ 490 w 896"/>
                <a:gd name="T41" fmla="*/ 201 h 829"/>
                <a:gd name="T42" fmla="*/ 508 w 896"/>
                <a:gd name="T43" fmla="*/ 189 h 829"/>
                <a:gd name="T44" fmla="*/ 557 w 896"/>
                <a:gd name="T45" fmla="*/ 31 h 829"/>
                <a:gd name="T46" fmla="*/ 660 w 896"/>
                <a:gd name="T47" fmla="*/ 195 h 829"/>
                <a:gd name="T48" fmla="*/ 735 w 896"/>
                <a:gd name="T49" fmla="*/ 416 h 829"/>
                <a:gd name="T50" fmla="*/ 619 w 896"/>
                <a:gd name="T51" fmla="*/ 421 h 829"/>
                <a:gd name="T52" fmla="*/ 532 w 896"/>
                <a:gd name="T53" fmla="*/ 480 h 829"/>
                <a:gd name="T54" fmla="*/ 563 w 896"/>
                <a:gd name="T55" fmla="*/ 320 h 829"/>
                <a:gd name="T56" fmla="*/ 584 w 896"/>
                <a:gd name="T57" fmla="*/ 356 h 829"/>
                <a:gd name="T58" fmla="*/ 603 w 896"/>
                <a:gd name="T59" fmla="*/ 365 h 829"/>
                <a:gd name="T60" fmla="*/ 610 w 896"/>
                <a:gd name="T61" fmla="*/ 332 h 829"/>
                <a:gd name="T62" fmla="*/ 541 w 896"/>
                <a:gd name="T63" fmla="*/ 276 h 829"/>
                <a:gd name="T64" fmla="*/ 414 w 896"/>
                <a:gd name="T65" fmla="*/ 263 h 829"/>
                <a:gd name="T66" fmla="*/ 311 w 896"/>
                <a:gd name="T67" fmla="*/ 299 h 829"/>
                <a:gd name="T68" fmla="*/ 286 w 896"/>
                <a:gd name="T69" fmla="*/ 356 h 829"/>
                <a:gd name="T70" fmla="*/ 305 w 896"/>
                <a:gd name="T71" fmla="*/ 365 h 829"/>
                <a:gd name="T72" fmla="*/ 316 w 896"/>
                <a:gd name="T73" fmla="*/ 342 h 829"/>
                <a:gd name="T74" fmla="*/ 388 w 896"/>
                <a:gd name="T75" fmla="*/ 297 h 829"/>
                <a:gd name="T76" fmla="*/ 325 w 896"/>
                <a:gd name="T77" fmla="*/ 446 h 829"/>
                <a:gd name="T78" fmla="*/ 224 w 896"/>
                <a:gd name="T79" fmla="*/ 411 h 829"/>
                <a:gd name="T80" fmla="*/ 105 w 896"/>
                <a:gd name="T81" fmla="*/ 438 h 829"/>
                <a:gd name="T82" fmla="*/ 306 w 896"/>
                <a:gd name="T83" fmla="*/ 39 h 829"/>
                <a:gd name="T84" fmla="*/ 379 w 896"/>
                <a:gd name="T85" fmla="*/ 37 h 829"/>
                <a:gd name="T86" fmla="*/ 396 w 896"/>
                <a:gd name="T87" fmla="*/ 199 h 829"/>
                <a:gd name="T88" fmla="*/ 416 w 896"/>
                <a:gd name="T89" fmla="*/ 195 h 829"/>
                <a:gd name="T90" fmla="*/ 414 w 896"/>
                <a:gd name="T91" fmla="*/ 26 h 829"/>
                <a:gd name="T92" fmla="*/ 343 w 896"/>
                <a:gd name="T93" fmla="*/ 0 h 829"/>
                <a:gd name="T94" fmla="*/ 274 w 896"/>
                <a:gd name="T95" fmla="*/ 26 h 829"/>
                <a:gd name="T96" fmla="*/ 31 w 896"/>
                <a:gd name="T97" fmla="*/ 510 h 829"/>
                <a:gd name="T98" fmla="*/ 1 w 896"/>
                <a:gd name="T99" fmla="*/ 604 h 829"/>
                <a:gd name="T100" fmla="*/ 26 w 896"/>
                <a:gd name="T101" fmla="*/ 719 h 829"/>
                <a:gd name="T102" fmla="*/ 148 w 896"/>
                <a:gd name="T103" fmla="*/ 819 h 829"/>
                <a:gd name="T104" fmla="*/ 272 w 896"/>
                <a:gd name="T105" fmla="*/ 819 h 829"/>
                <a:gd name="T106" fmla="*/ 394 w 896"/>
                <a:gd name="T107" fmla="*/ 719 h 829"/>
                <a:gd name="T108" fmla="*/ 418 w 896"/>
                <a:gd name="T109" fmla="*/ 292 h 829"/>
                <a:gd name="T110" fmla="*/ 480 w 896"/>
                <a:gd name="T111" fmla="*/ 651 h 829"/>
                <a:gd name="T112" fmla="*/ 554 w 896"/>
                <a:gd name="T113" fmla="*/ 781 h 829"/>
                <a:gd name="T114" fmla="*/ 677 w 896"/>
                <a:gd name="T115" fmla="*/ 829 h 829"/>
                <a:gd name="T116" fmla="*/ 821 w 896"/>
                <a:gd name="T117" fmla="*/ 781 h 829"/>
                <a:gd name="T118" fmla="*/ 894 w 896"/>
                <a:gd name="T119" fmla="*/ 651 h 829"/>
                <a:gd name="T120" fmla="*/ 885 w 896"/>
                <a:gd name="T121" fmla="*/ 549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6" h="829">
                  <a:moveTo>
                    <a:pt x="688" y="799"/>
                  </a:moveTo>
                  <a:lnTo>
                    <a:pt x="670" y="798"/>
                  </a:lnTo>
                  <a:lnTo>
                    <a:pt x="652" y="795"/>
                  </a:lnTo>
                  <a:lnTo>
                    <a:pt x="634" y="790"/>
                  </a:lnTo>
                  <a:lnTo>
                    <a:pt x="618" y="785"/>
                  </a:lnTo>
                  <a:lnTo>
                    <a:pt x="602" y="777"/>
                  </a:lnTo>
                  <a:lnTo>
                    <a:pt x="587" y="768"/>
                  </a:lnTo>
                  <a:lnTo>
                    <a:pt x="573" y="758"/>
                  </a:lnTo>
                  <a:lnTo>
                    <a:pt x="561" y="746"/>
                  </a:lnTo>
                  <a:lnTo>
                    <a:pt x="549" y="734"/>
                  </a:lnTo>
                  <a:lnTo>
                    <a:pt x="539" y="720"/>
                  </a:lnTo>
                  <a:lnTo>
                    <a:pt x="530" y="705"/>
                  </a:lnTo>
                  <a:lnTo>
                    <a:pt x="522" y="689"/>
                  </a:lnTo>
                  <a:lnTo>
                    <a:pt x="517" y="673"/>
                  </a:lnTo>
                  <a:lnTo>
                    <a:pt x="512" y="655"/>
                  </a:lnTo>
                  <a:lnTo>
                    <a:pt x="509" y="637"/>
                  </a:lnTo>
                  <a:lnTo>
                    <a:pt x="508" y="619"/>
                  </a:lnTo>
                  <a:lnTo>
                    <a:pt x="509" y="601"/>
                  </a:lnTo>
                  <a:lnTo>
                    <a:pt x="512" y="583"/>
                  </a:lnTo>
                  <a:lnTo>
                    <a:pt x="517" y="566"/>
                  </a:lnTo>
                  <a:lnTo>
                    <a:pt x="522" y="550"/>
                  </a:lnTo>
                  <a:lnTo>
                    <a:pt x="530" y="534"/>
                  </a:lnTo>
                  <a:lnTo>
                    <a:pt x="539" y="520"/>
                  </a:lnTo>
                  <a:lnTo>
                    <a:pt x="549" y="506"/>
                  </a:lnTo>
                  <a:lnTo>
                    <a:pt x="561" y="493"/>
                  </a:lnTo>
                  <a:lnTo>
                    <a:pt x="573" y="481"/>
                  </a:lnTo>
                  <a:lnTo>
                    <a:pt x="587" y="471"/>
                  </a:lnTo>
                  <a:lnTo>
                    <a:pt x="602" y="462"/>
                  </a:lnTo>
                  <a:lnTo>
                    <a:pt x="618" y="454"/>
                  </a:lnTo>
                  <a:lnTo>
                    <a:pt x="634" y="448"/>
                  </a:lnTo>
                  <a:lnTo>
                    <a:pt x="652" y="444"/>
                  </a:lnTo>
                  <a:lnTo>
                    <a:pt x="670" y="441"/>
                  </a:lnTo>
                  <a:lnTo>
                    <a:pt x="688" y="441"/>
                  </a:lnTo>
                  <a:lnTo>
                    <a:pt x="706" y="441"/>
                  </a:lnTo>
                  <a:lnTo>
                    <a:pt x="724" y="444"/>
                  </a:lnTo>
                  <a:lnTo>
                    <a:pt x="741" y="448"/>
                  </a:lnTo>
                  <a:lnTo>
                    <a:pt x="757" y="454"/>
                  </a:lnTo>
                  <a:lnTo>
                    <a:pt x="773" y="462"/>
                  </a:lnTo>
                  <a:lnTo>
                    <a:pt x="787" y="471"/>
                  </a:lnTo>
                  <a:lnTo>
                    <a:pt x="801" y="481"/>
                  </a:lnTo>
                  <a:lnTo>
                    <a:pt x="814" y="493"/>
                  </a:lnTo>
                  <a:lnTo>
                    <a:pt x="826" y="506"/>
                  </a:lnTo>
                  <a:lnTo>
                    <a:pt x="837" y="520"/>
                  </a:lnTo>
                  <a:lnTo>
                    <a:pt x="845" y="534"/>
                  </a:lnTo>
                  <a:lnTo>
                    <a:pt x="853" y="550"/>
                  </a:lnTo>
                  <a:lnTo>
                    <a:pt x="859" y="566"/>
                  </a:lnTo>
                  <a:lnTo>
                    <a:pt x="863" y="583"/>
                  </a:lnTo>
                  <a:lnTo>
                    <a:pt x="867" y="601"/>
                  </a:lnTo>
                  <a:lnTo>
                    <a:pt x="867" y="619"/>
                  </a:lnTo>
                  <a:lnTo>
                    <a:pt x="867" y="637"/>
                  </a:lnTo>
                  <a:lnTo>
                    <a:pt x="863" y="655"/>
                  </a:lnTo>
                  <a:lnTo>
                    <a:pt x="859" y="673"/>
                  </a:lnTo>
                  <a:lnTo>
                    <a:pt x="853" y="689"/>
                  </a:lnTo>
                  <a:lnTo>
                    <a:pt x="845" y="705"/>
                  </a:lnTo>
                  <a:lnTo>
                    <a:pt x="837" y="720"/>
                  </a:lnTo>
                  <a:lnTo>
                    <a:pt x="826" y="734"/>
                  </a:lnTo>
                  <a:lnTo>
                    <a:pt x="814" y="746"/>
                  </a:lnTo>
                  <a:lnTo>
                    <a:pt x="801" y="758"/>
                  </a:lnTo>
                  <a:lnTo>
                    <a:pt x="787" y="768"/>
                  </a:lnTo>
                  <a:lnTo>
                    <a:pt x="773" y="777"/>
                  </a:lnTo>
                  <a:lnTo>
                    <a:pt x="757" y="785"/>
                  </a:lnTo>
                  <a:lnTo>
                    <a:pt x="741" y="790"/>
                  </a:lnTo>
                  <a:lnTo>
                    <a:pt x="724" y="795"/>
                  </a:lnTo>
                  <a:lnTo>
                    <a:pt x="706" y="798"/>
                  </a:lnTo>
                  <a:lnTo>
                    <a:pt x="688" y="799"/>
                  </a:lnTo>
                  <a:close/>
                  <a:moveTo>
                    <a:pt x="210" y="799"/>
                  </a:moveTo>
                  <a:lnTo>
                    <a:pt x="192" y="798"/>
                  </a:lnTo>
                  <a:lnTo>
                    <a:pt x="173" y="795"/>
                  </a:lnTo>
                  <a:lnTo>
                    <a:pt x="156" y="790"/>
                  </a:lnTo>
                  <a:lnTo>
                    <a:pt x="140" y="785"/>
                  </a:lnTo>
                  <a:lnTo>
                    <a:pt x="124" y="777"/>
                  </a:lnTo>
                  <a:lnTo>
                    <a:pt x="109" y="768"/>
                  </a:lnTo>
                  <a:lnTo>
                    <a:pt x="95" y="758"/>
                  </a:lnTo>
                  <a:lnTo>
                    <a:pt x="82" y="746"/>
                  </a:lnTo>
                  <a:lnTo>
                    <a:pt x="71" y="734"/>
                  </a:lnTo>
                  <a:lnTo>
                    <a:pt x="61" y="720"/>
                  </a:lnTo>
                  <a:lnTo>
                    <a:pt x="51" y="705"/>
                  </a:lnTo>
                  <a:lnTo>
                    <a:pt x="44" y="689"/>
                  </a:lnTo>
                  <a:lnTo>
                    <a:pt x="39" y="673"/>
                  </a:lnTo>
                  <a:lnTo>
                    <a:pt x="33" y="655"/>
                  </a:lnTo>
                  <a:lnTo>
                    <a:pt x="31" y="637"/>
                  </a:lnTo>
                  <a:lnTo>
                    <a:pt x="30" y="619"/>
                  </a:lnTo>
                  <a:lnTo>
                    <a:pt x="31" y="601"/>
                  </a:lnTo>
                  <a:lnTo>
                    <a:pt x="33" y="583"/>
                  </a:lnTo>
                  <a:lnTo>
                    <a:pt x="39" y="566"/>
                  </a:lnTo>
                  <a:lnTo>
                    <a:pt x="44" y="550"/>
                  </a:lnTo>
                  <a:lnTo>
                    <a:pt x="51" y="534"/>
                  </a:lnTo>
                  <a:lnTo>
                    <a:pt x="61" y="520"/>
                  </a:lnTo>
                  <a:lnTo>
                    <a:pt x="71" y="506"/>
                  </a:lnTo>
                  <a:lnTo>
                    <a:pt x="82" y="493"/>
                  </a:lnTo>
                  <a:lnTo>
                    <a:pt x="95" y="481"/>
                  </a:lnTo>
                  <a:lnTo>
                    <a:pt x="109" y="471"/>
                  </a:lnTo>
                  <a:lnTo>
                    <a:pt x="124" y="462"/>
                  </a:lnTo>
                  <a:lnTo>
                    <a:pt x="140" y="454"/>
                  </a:lnTo>
                  <a:lnTo>
                    <a:pt x="156" y="448"/>
                  </a:lnTo>
                  <a:lnTo>
                    <a:pt x="173" y="444"/>
                  </a:lnTo>
                  <a:lnTo>
                    <a:pt x="192" y="441"/>
                  </a:lnTo>
                  <a:lnTo>
                    <a:pt x="210" y="441"/>
                  </a:lnTo>
                  <a:lnTo>
                    <a:pt x="228" y="441"/>
                  </a:lnTo>
                  <a:lnTo>
                    <a:pt x="245" y="444"/>
                  </a:lnTo>
                  <a:lnTo>
                    <a:pt x="263" y="448"/>
                  </a:lnTo>
                  <a:lnTo>
                    <a:pt x="279" y="454"/>
                  </a:lnTo>
                  <a:lnTo>
                    <a:pt x="295" y="462"/>
                  </a:lnTo>
                  <a:lnTo>
                    <a:pt x="309" y="471"/>
                  </a:lnTo>
                  <a:lnTo>
                    <a:pt x="323" y="481"/>
                  </a:lnTo>
                  <a:lnTo>
                    <a:pt x="336" y="493"/>
                  </a:lnTo>
                  <a:lnTo>
                    <a:pt x="348" y="506"/>
                  </a:lnTo>
                  <a:lnTo>
                    <a:pt x="358" y="520"/>
                  </a:lnTo>
                  <a:lnTo>
                    <a:pt x="367" y="534"/>
                  </a:lnTo>
                  <a:lnTo>
                    <a:pt x="374" y="550"/>
                  </a:lnTo>
                  <a:lnTo>
                    <a:pt x="381" y="566"/>
                  </a:lnTo>
                  <a:lnTo>
                    <a:pt x="385" y="583"/>
                  </a:lnTo>
                  <a:lnTo>
                    <a:pt x="387" y="601"/>
                  </a:lnTo>
                  <a:lnTo>
                    <a:pt x="388" y="619"/>
                  </a:lnTo>
                  <a:lnTo>
                    <a:pt x="387" y="637"/>
                  </a:lnTo>
                  <a:lnTo>
                    <a:pt x="385" y="655"/>
                  </a:lnTo>
                  <a:lnTo>
                    <a:pt x="381" y="673"/>
                  </a:lnTo>
                  <a:lnTo>
                    <a:pt x="374" y="689"/>
                  </a:lnTo>
                  <a:lnTo>
                    <a:pt x="367" y="705"/>
                  </a:lnTo>
                  <a:lnTo>
                    <a:pt x="358" y="720"/>
                  </a:lnTo>
                  <a:lnTo>
                    <a:pt x="348" y="734"/>
                  </a:lnTo>
                  <a:lnTo>
                    <a:pt x="336" y="746"/>
                  </a:lnTo>
                  <a:lnTo>
                    <a:pt x="323" y="758"/>
                  </a:lnTo>
                  <a:lnTo>
                    <a:pt x="309" y="768"/>
                  </a:lnTo>
                  <a:lnTo>
                    <a:pt x="295" y="777"/>
                  </a:lnTo>
                  <a:lnTo>
                    <a:pt x="279" y="785"/>
                  </a:lnTo>
                  <a:lnTo>
                    <a:pt x="263" y="790"/>
                  </a:lnTo>
                  <a:lnTo>
                    <a:pt x="245" y="795"/>
                  </a:lnTo>
                  <a:lnTo>
                    <a:pt x="228" y="798"/>
                  </a:lnTo>
                  <a:lnTo>
                    <a:pt x="210" y="799"/>
                  </a:lnTo>
                  <a:close/>
                  <a:moveTo>
                    <a:pt x="867" y="511"/>
                  </a:moveTo>
                  <a:lnTo>
                    <a:pt x="865" y="510"/>
                  </a:lnTo>
                  <a:lnTo>
                    <a:pt x="865" y="509"/>
                  </a:lnTo>
                  <a:lnTo>
                    <a:pt x="746" y="240"/>
                  </a:lnTo>
                  <a:lnTo>
                    <a:pt x="745" y="237"/>
                  </a:lnTo>
                  <a:lnTo>
                    <a:pt x="744" y="235"/>
                  </a:lnTo>
                  <a:lnTo>
                    <a:pt x="686" y="178"/>
                  </a:lnTo>
                  <a:lnTo>
                    <a:pt x="632" y="32"/>
                  </a:lnTo>
                  <a:lnTo>
                    <a:pt x="631" y="29"/>
                  </a:lnTo>
                  <a:lnTo>
                    <a:pt x="629" y="26"/>
                  </a:lnTo>
                  <a:lnTo>
                    <a:pt x="622" y="20"/>
                  </a:lnTo>
                  <a:lnTo>
                    <a:pt x="614" y="15"/>
                  </a:lnTo>
                  <a:lnTo>
                    <a:pt x="606" y="11"/>
                  </a:lnTo>
                  <a:lnTo>
                    <a:pt x="596" y="8"/>
                  </a:lnTo>
                  <a:lnTo>
                    <a:pt x="586" y="4"/>
                  </a:lnTo>
                  <a:lnTo>
                    <a:pt x="577" y="2"/>
                  </a:lnTo>
                  <a:lnTo>
                    <a:pt x="566" y="1"/>
                  </a:lnTo>
                  <a:lnTo>
                    <a:pt x="555" y="1"/>
                  </a:lnTo>
                  <a:lnTo>
                    <a:pt x="546" y="1"/>
                  </a:lnTo>
                  <a:lnTo>
                    <a:pt x="535" y="2"/>
                  </a:lnTo>
                  <a:lnTo>
                    <a:pt x="525" y="4"/>
                  </a:lnTo>
                  <a:lnTo>
                    <a:pt x="516" y="8"/>
                  </a:lnTo>
                  <a:lnTo>
                    <a:pt x="506" y="11"/>
                  </a:lnTo>
                  <a:lnTo>
                    <a:pt x="497" y="15"/>
                  </a:lnTo>
                  <a:lnTo>
                    <a:pt x="490" y="20"/>
                  </a:lnTo>
                  <a:lnTo>
                    <a:pt x="483" y="26"/>
                  </a:lnTo>
                  <a:lnTo>
                    <a:pt x="481" y="29"/>
                  </a:lnTo>
                  <a:lnTo>
                    <a:pt x="479" y="31"/>
                  </a:lnTo>
                  <a:lnTo>
                    <a:pt x="478" y="34"/>
                  </a:lnTo>
                  <a:lnTo>
                    <a:pt x="478" y="36"/>
                  </a:lnTo>
                  <a:lnTo>
                    <a:pt x="478" y="186"/>
                  </a:lnTo>
                  <a:lnTo>
                    <a:pt x="478" y="189"/>
                  </a:lnTo>
                  <a:lnTo>
                    <a:pt x="479" y="191"/>
                  </a:lnTo>
                  <a:lnTo>
                    <a:pt x="481" y="195"/>
                  </a:lnTo>
                  <a:lnTo>
                    <a:pt x="483" y="197"/>
                  </a:lnTo>
                  <a:lnTo>
                    <a:pt x="485" y="199"/>
                  </a:lnTo>
                  <a:lnTo>
                    <a:pt x="488" y="200"/>
                  </a:lnTo>
                  <a:lnTo>
                    <a:pt x="490" y="201"/>
                  </a:lnTo>
                  <a:lnTo>
                    <a:pt x="493" y="201"/>
                  </a:lnTo>
                  <a:lnTo>
                    <a:pt x="496" y="201"/>
                  </a:lnTo>
                  <a:lnTo>
                    <a:pt x="500" y="200"/>
                  </a:lnTo>
                  <a:lnTo>
                    <a:pt x="502" y="199"/>
                  </a:lnTo>
                  <a:lnTo>
                    <a:pt x="504" y="197"/>
                  </a:lnTo>
                  <a:lnTo>
                    <a:pt x="506" y="195"/>
                  </a:lnTo>
                  <a:lnTo>
                    <a:pt x="507" y="191"/>
                  </a:lnTo>
                  <a:lnTo>
                    <a:pt x="508" y="189"/>
                  </a:lnTo>
                  <a:lnTo>
                    <a:pt x="508" y="186"/>
                  </a:lnTo>
                  <a:lnTo>
                    <a:pt x="508" y="44"/>
                  </a:lnTo>
                  <a:lnTo>
                    <a:pt x="514" y="41"/>
                  </a:lnTo>
                  <a:lnTo>
                    <a:pt x="519" y="37"/>
                  </a:lnTo>
                  <a:lnTo>
                    <a:pt x="524" y="35"/>
                  </a:lnTo>
                  <a:lnTo>
                    <a:pt x="531" y="33"/>
                  </a:lnTo>
                  <a:lnTo>
                    <a:pt x="543" y="31"/>
                  </a:lnTo>
                  <a:lnTo>
                    <a:pt x="557" y="31"/>
                  </a:lnTo>
                  <a:lnTo>
                    <a:pt x="571" y="32"/>
                  </a:lnTo>
                  <a:lnTo>
                    <a:pt x="584" y="34"/>
                  </a:lnTo>
                  <a:lnTo>
                    <a:pt x="591" y="36"/>
                  </a:lnTo>
                  <a:lnTo>
                    <a:pt x="596" y="39"/>
                  </a:lnTo>
                  <a:lnTo>
                    <a:pt x="601" y="42"/>
                  </a:lnTo>
                  <a:lnTo>
                    <a:pt x="606" y="45"/>
                  </a:lnTo>
                  <a:lnTo>
                    <a:pt x="659" y="191"/>
                  </a:lnTo>
                  <a:lnTo>
                    <a:pt x="660" y="195"/>
                  </a:lnTo>
                  <a:lnTo>
                    <a:pt x="662" y="197"/>
                  </a:lnTo>
                  <a:lnTo>
                    <a:pt x="720" y="255"/>
                  </a:lnTo>
                  <a:lnTo>
                    <a:pt x="806" y="447"/>
                  </a:lnTo>
                  <a:lnTo>
                    <a:pt x="793" y="438"/>
                  </a:lnTo>
                  <a:lnTo>
                    <a:pt x="779" y="431"/>
                  </a:lnTo>
                  <a:lnTo>
                    <a:pt x="765" y="425"/>
                  </a:lnTo>
                  <a:lnTo>
                    <a:pt x="750" y="420"/>
                  </a:lnTo>
                  <a:lnTo>
                    <a:pt x="735" y="416"/>
                  </a:lnTo>
                  <a:lnTo>
                    <a:pt x="720" y="413"/>
                  </a:lnTo>
                  <a:lnTo>
                    <a:pt x="704" y="411"/>
                  </a:lnTo>
                  <a:lnTo>
                    <a:pt x="688" y="411"/>
                  </a:lnTo>
                  <a:lnTo>
                    <a:pt x="674" y="411"/>
                  </a:lnTo>
                  <a:lnTo>
                    <a:pt x="660" y="412"/>
                  </a:lnTo>
                  <a:lnTo>
                    <a:pt x="646" y="415"/>
                  </a:lnTo>
                  <a:lnTo>
                    <a:pt x="632" y="418"/>
                  </a:lnTo>
                  <a:lnTo>
                    <a:pt x="619" y="421"/>
                  </a:lnTo>
                  <a:lnTo>
                    <a:pt x="607" y="427"/>
                  </a:lnTo>
                  <a:lnTo>
                    <a:pt x="595" y="432"/>
                  </a:lnTo>
                  <a:lnTo>
                    <a:pt x="583" y="438"/>
                  </a:lnTo>
                  <a:lnTo>
                    <a:pt x="572" y="446"/>
                  </a:lnTo>
                  <a:lnTo>
                    <a:pt x="561" y="453"/>
                  </a:lnTo>
                  <a:lnTo>
                    <a:pt x="551" y="462"/>
                  </a:lnTo>
                  <a:lnTo>
                    <a:pt x="541" y="471"/>
                  </a:lnTo>
                  <a:lnTo>
                    <a:pt x="532" y="480"/>
                  </a:lnTo>
                  <a:lnTo>
                    <a:pt x="523" y="491"/>
                  </a:lnTo>
                  <a:lnTo>
                    <a:pt x="516" y="502"/>
                  </a:lnTo>
                  <a:lnTo>
                    <a:pt x="508" y="512"/>
                  </a:lnTo>
                  <a:lnTo>
                    <a:pt x="508" y="297"/>
                  </a:lnTo>
                  <a:lnTo>
                    <a:pt x="525" y="302"/>
                  </a:lnTo>
                  <a:lnTo>
                    <a:pt x="539" y="307"/>
                  </a:lnTo>
                  <a:lnTo>
                    <a:pt x="552" y="313"/>
                  </a:lnTo>
                  <a:lnTo>
                    <a:pt x="563" y="320"/>
                  </a:lnTo>
                  <a:lnTo>
                    <a:pt x="571" y="327"/>
                  </a:lnTo>
                  <a:lnTo>
                    <a:pt x="578" y="335"/>
                  </a:lnTo>
                  <a:lnTo>
                    <a:pt x="580" y="339"/>
                  </a:lnTo>
                  <a:lnTo>
                    <a:pt x="582" y="342"/>
                  </a:lnTo>
                  <a:lnTo>
                    <a:pt x="583" y="346"/>
                  </a:lnTo>
                  <a:lnTo>
                    <a:pt x="583" y="351"/>
                  </a:lnTo>
                  <a:lnTo>
                    <a:pt x="583" y="354"/>
                  </a:lnTo>
                  <a:lnTo>
                    <a:pt x="584" y="356"/>
                  </a:lnTo>
                  <a:lnTo>
                    <a:pt x="585" y="359"/>
                  </a:lnTo>
                  <a:lnTo>
                    <a:pt x="587" y="361"/>
                  </a:lnTo>
                  <a:lnTo>
                    <a:pt x="589" y="363"/>
                  </a:lnTo>
                  <a:lnTo>
                    <a:pt x="593" y="365"/>
                  </a:lnTo>
                  <a:lnTo>
                    <a:pt x="595" y="365"/>
                  </a:lnTo>
                  <a:lnTo>
                    <a:pt x="598" y="366"/>
                  </a:lnTo>
                  <a:lnTo>
                    <a:pt x="601" y="365"/>
                  </a:lnTo>
                  <a:lnTo>
                    <a:pt x="603" y="365"/>
                  </a:lnTo>
                  <a:lnTo>
                    <a:pt x="607" y="363"/>
                  </a:lnTo>
                  <a:lnTo>
                    <a:pt x="609" y="361"/>
                  </a:lnTo>
                  <a:lnTo>
                    <a:pt x="611" y="359"/>
                  </a:lnTo>
                  <a:lnTo>
                    <a:pt x="612" y="356"/>
                  </a:lnTo>
                  <a:lnTo>
                    <a:pt x="613" y="354"/>
                  </a:lnTo>
                  <a:lnTo>
                    <a:pt x="613" y="351"/>
                  </a:lnTo>
                  <a:lnTo>
                    <a:pt x="612" y="341"/>
                  </a:lnTo>
                  <a:lnTo>
                    <a:pt x="610" y="332"/>
                  </a:lnTo>
                  <a:lnTo>
                    <a:pt x="606" y="323"/>
                  </a:lnTo>
                  <a:lnTo>
                    <a:pt x="600" y="314"/>
                  </a:lnTo>
                  <a:lnTo>
                    <a:pt x="594" y="307"/>
                  </a:lnTo>
                  <a:lnTo>
                    <a:pt x="585" y="299"/>
                  </a:lnTo>
                  <a:lnTo>
                    <a:pt x="577" y="293"/>
                  </a:lnTo>
                  <a:lnTo>
                    <a:pt x="566" y="287"/>
                  </a:lnTo>
                  <a:lnTo>
                    <a:pt x="554" y="281"/>
                  </a:lnTo>
                  <a:lnTo>
                    <a:pt x="541" y="276"/>
                  </a:lnTo>
                  <a:lnTo>
                    <a:pt x="528" y="272"/>
                  </a:lnTo>
                  <a:lnTo>
                    <a:pt x="514" y="267"/>
                  </a:lnTo>
                  <a:lnTo>
                    <a:pt x="499" y="265"/>
                  </a:lnTo>
                  <a:lnTo>
                    <a:pt x="483" y="263"/>
                  </a:lnTo>
                  <a:lnTo>
                    <a:pt x="465" y="261"/>
                  </a:lnTo>
                  <a:lnTo>
                    <a:pt x="448" y="261"/>
                  </a:lnTo>
                  <a:lnTo>
                    <a:pt x="431" y="261"/>
                  </a:lnTo>
                  <a:lnTo>
                    <a:pt x="414" y="263"/>
                  </a:lnTo>
                  <a:lnTo>
                    <a:pt x="399" y="265"/>
                  </a:lnTo>
                  <a:lnTo>
                    <a:pt x="383" y="267"/>
                  </a:lnTo>
                  <a:lnTo>
                    <a:pt x="369" y="272"/>
                  </a:lnTo>
                  <a:lnTo>
                    <a:pt x="355" y="276"/>
                  </a:lnTo>
                  <a:lnTo>
                    <a:pt x="342" y="281"/>
                  </a:lnTo>
                  <a:lnTo>
                    <a:pt x="332" y="287"/>
                  </a:lnTo>
                  <a:lnTo>
                    <a:pt x="321" y="293"/>
                  </a:lnTo>
                  <a:lnTo>
                    <a:pt x="311" y="299"/>
                  </a:lnTo>
                  <a:lnTo>
                    <a:pt x="304" y="307"/>
                  </a:lnTo>
                  <a:lnTo>
                    <a:pt x="296" y="314"/>
                  </a:lnTo>
                  <a:lnTo>
                    <a:pt x="291" y="323"/>
                  </a:lnTo>
                  <a:lnTo>
                    <a:pt x="288" y="332"/>
                  </a:lnTo>
                  <a:lnTo>
                    <a:pt x="285" y="341"/>
                  </a:lnTo>
                  <a:lnTo>
                    <a:pt x="285" y="351"/>
                  </a:lnTo>
                  <a:lnTo>
                    <a:pt x="285" y="354"/>
                  </a:lnTo>
                  <a:lnTo>
                    <a:pt x="286" y="356"/>
                  </a:lnTo>
                  <a:lnTo>
                    <a:pt x="287" y="359"/>
                  </a:lnTo>
                  <a:lnTo>
                    <a:pt x="289" y="361"/>
                  </a:lnTo>
                  <a:lnTo>
                    <a:pt x="291" y="363"/>
                  </a:lnTo>
                  <a:lnTo>
                    <a:pt x="293" y="365"/>
                  </a:lnTo>
                  <a:lnTo>
                    <a:pt x="296" y="365"/>
                  </a:lnTo>
                  <a:lnTo>
                    <a:pt x="300" y="366"/>
                  </a:lnTo>
                  <a:lnTo>
                    <a:pt x="302" y="365"/>
                  </a:lnTo>
                  <a:lnTo>
                    <a:pt x="305" y="365"/>
                  </a:lnTo>
                  <a:lnTo>
                    <a:pt x="307" y="363"/>
                  </a:lnTo>
                  <a:lnTo>
                    <a:pt x="309" y="361"/>
                  </a:lnTo>
                  <a:lnTo>
                    <a:pt x="311" y="359"/>
                  </a:lnTo>
                  <a:lnTo>
                    <a:pt x="312" y="356"/>
                  </a:lnTo>
                  <a:lnTo>
                    <a:pt x="313" y="354"/>
                  </a:lnTo>
                  <a:lnTo>
                    <a:pt x="313" y="351"/>
                  </a:lnTo>
                  <a:lnTo>
                    <a:pt x="315" y="346"/>
                  </a:lnTo>
                  <a:lnTo>
                    <a:pt x="316" y="342"/>
                  </a:lnTo>
                  <a:lnTo>
                    <a:pt x="317" y="339"/>
                  </a:lnTo>
                  <a:lnTo>
                    <a:pt x="319" y="335"/>
                  </a:lnTo>
                  <a:lnTo>
                    <a:pt x="325" y="327"/>
                  </a:lnTo>
                  <a:lnTo>
                    <a:pt x="334" y="320"/>
                  </a:lnTo>
                  <a:lnTo>
                    <a:pt x="345" y="313"/>
                  </a:lnTo>
                  <a:lnTo>
                    <a:pt x="357" y="307"/>
                  </a:lnTo>
                  <a:lnTo>
                    <a:pt x="372" y="302"/>
                  </a:lnTo>
                  <a:lnTo>
                    <a:pt x="388" y="297"/>
                  </a:lnTo>
                  <a:lnTo>
                    <a:pt x="388" y="512"/>
                  </a:lnTo>
                  <a:lnTo>
                    <a:pt x="382" y="500"/>
                  </a:lnTo>
                  <a:lnTo>
                    <a:pt x="373" y="490"/>
                  </a:lnTo>
                  <a:lnTo>
                    <a:pt x="365" y="480"/>
                  </a:lnTo>
                  <a:lnTo>
                    <a:pt x="356" y="471"/>
                  </a:lnTo>
                  <a:lnTo>
                    <a:pt x="347" y="462"/>
                  </a:lnTo>
                  <a:lnTo>
                    <a:pt x="336" y="453"/>
                  </a:lnTo>
                  <a:lnTo>
                    <a:pt x="325" y="446"/>
                  </a:lnTo>
                  <a:lnTo>
                    <a:pt x="313" y="438"/>
                  </a:lnTo>
                  <a:lnTo>
                    <a:pt x="302" y="432"/>
                  </a:lnTo>
                  <a:lnTo>
                    <a:pt x="290" y="427"/>
                  </a:lnTo>
                  <a:lnTo>
                    <a:pt x="277" y="421"/>
                  </a:lnTo>
                  <a:lnTo>
                    <a:pt x="264" y="418"/>
                  </a:lnTo>
                  <a:lnTo>
                    <a:pt x="251" y="415"/>
                  </a:lnTo>
                  <a:lnTo>
                    <a:pt x="238" y="412"/>
                  </a:lnTo>
                  <a:lnTo>
                    <a:pt x="224" y="411"/>
                  </a:lnTo>
                  <a:lnTo>
                    <a:pt x="210" y="411"/>
                  </a:lnTo>
                  <a:lnTo>
                    <a:pt x="194" y="411"/>
                  </a:lnTo>
                  <a:lnTo>
                    <a:pt x="178" y="413"/>
                  </a:lnTo>
                  <a:lnTo>
                    <a:pt x="162" y="416"/>
                  </a:lnTo>
                  <a:lnTo>
                    <a:pt x="147" y="420"/>
                  </a:lnTo>
                  <a:lnTo>
                    <a:pt x="133" y="425"/>
                  </a:lnTo>
                  <a:lnTo>
                    <a:pt x="118" y="431"/>
                  </a:lnTo>
                  <a:lnTo>
                    <a:pt x="105" y="438"/>
                  </a:lnTo>
                  <a:lnTo>
                    <a:pt x="92" y="447"/>
                  </a:lnTo>
                  <a:lnTo>
                    <a:pt x="178" y="255"/>
                  </a:lnTo>
                  <a:lnTo>
                    <a:pt x="235" y="197"/>
                  </a:lnTo>
                  <a:lnTo>
                    <a:pt x="236" y="195"/>
                  </a:lnTo>
                  <a:lnTo>
                    <a:pt x="239" y="191"/>
                  </a:lnTo>
                  <a:lnTo>
                    <a:pt x="296" y="45"/>
                  </a:lnTo>
                  <a:lnTo>
                    <a:pt x="302" y="42"/>
                  </a:lnTo>
                  <a:lnTo>
                    <a:pt x="306" y="39"/>
                  </a:lnTo>
                  <a:lnTo>
                    <a:pt x="311" y="36"/>
                  </a:lnTo>
                  <a:lnTo>
                    <a:pt x="317" y="34"/>
                  </a:lnTo>
                  <a:lnTo>
                    <a:pt x="330" y="31"/>
                  </a:lnTo>
                  <a:lnTo>
                    <a:pt x="342" y="30"/>
                  </a:lnTo>
                  <a:lnTo>
                    <a:pt x="355" y="31"/>
                  </a:lnTo>
                  <a:lnTo>
                    <a:pt x="367" y="33"/>
                  </a:lnTo>
                  <a:lnTo>
                    <a:pt x="373" y="35"/>
                  </a:lnTo>
                  <a:lnTo>
                    <a:pt x="379" y="37"/>
                  </a:lnTo>
                  <a:lnTo>
                    <a:pt x="384" y="41"/>
                  </a:lnTo>
                  <a:lnTo>
                    <a:pt x="388" y="44"/>
                  </a:lnTo>
                  <a:lnTo>
                    <a:pt x="388" y="186"/>
                  </a:lnTo>
                  <a:lnTo>
                    <a:pt x="389" y="189"/>
                  </a:lnTo>
                  <a:lnTo>
                    <a:pt x="389" y="191"/>
                  </a:lnTo>
                  <a:lnTo>
                    <a:pt x="392" y="195"/>
                  </a:lnTo>
                  <a:lnTo>
                    <a:pt x="393" y="197"/>
                  </a:lnTo>
                  <a:lnTo>
                    <a:pt x="396" y="199"/>
                  </a:lnTo>
                  <a:lnTo>
                    <a:pt x="398" y="200"/>
                  </a:lnTo>
                  <a:lnTo>
                    <a:pt x="401" y="201"/>
                  </a:lnTo>
                  <a:lnTo>
                    <a:pt x="403" y="201"/>
                  </a:lnTo>
                  <a:lnTo>
                    <a:pt x="407" y="201"/>
                  </a:lnTo>
                  <a:lnTo>
                    <a:pt x="410" y="200"/>
                  </a:lnTo>
                  <a:lnTo>
                    <a:pt x="412" y="199"/>
                  </a:lnTo>
                  <a:lnTo>
                    <a:pt x="414" y="197"/>
                  </a:lnTo>
                  <a:lnTo>
                    <a:pt x="416" y="195"/>
                  </a:lnTo>
                  <a:lnTo>
                    <a:pt x="417" y="191"/>
                  </a:lnTo>
                  <a:lnTo>
                    <a:pt x="418" y="189"/>
                  </a:lnTo>
                  <a:lnTo>
                    <a:pt x="418" y="186"/>
                  </a:lnTo>
                  <a:lnTo>
                    <a:pt x="418" y="36"/>
                  </a:lnTo>
                  <a:lnTo>
                    <a:pt x="418" y="34"/>
                  </a:lnTo>
                  <a:lnTo>
                    <a:pt x="417" y="31"/>
                  </a:lnTo>
                  <a:lnTo>
                    <a:pt x="416" y="29"/>
                  </a:lnTo>
                  <a:lnTo>
                    <a:pt x="414" y="26"/>
                  </a:lnTo>
                  <a:lnTo>
                    <a:pt x="408" y="20"/>
                  </a:lnTo>
                  <a:lnTo>
                    <a:pt x="400" y="15"/>
                  </a:lnTo>
                  <a:lnTo>
                    <a:pt x="392" y="11"/>
                  </a:lnTo>
                  <a:lnTo>
                    <a:pt x="383" y="6"/>
                  </a:lnTo>
                  <a:lnTo>
                    <a:pt x="373" y="4"/>
                  </a:lnTo>
                  <a:lnTo>
                    <a:pt x="364" y="2"/>
                  </a:lnTo>
                  <a:lnTo>
                    <a:pt x="354" y="1"/>
                  </a:lnTo>
                  <a:lnTo>
                    <a:pt x="343" y="0"/>
                  </a:lnTo>
                  <a:lnTo>
                    <a:pt x="334" y="1"/>
                  </a:lnTo>
                  <a:lnTo>
                    <a:pt x="324" y="2"/>
                  </a:lnTo>
                  <a:lnTo>
                    <a:pt x="315" y="4"/>
                  </a:lnTo>
                  <a:lnTo>
                    <a:pt x="305" y="6"/>
                  </a:lnTo>
                  <a:lnTo>
                    <a:pt x="296" y="11"/>
                  </a:lnTo>
                  <a:lnTo>
                    <a:pt x="288" y="15"/>
                  </a:lnTo>
                  <a:lnTo>
                    <a:pt x="280" y="20"/>
                  </a:lnTo>
                  <a:lnTo>
                    <a:pt x="274" y="26"/>
                  </a:lnTo>
                  <a:lnTo>
                    <a:pt x="272" y="29"/>
                  </a:lnTo>
                  <a:lnTo>
                    <a:pt x="271" y="31"/>
                  </a:lnTo>
                  <a:lnTo>
                    <a:pt x="212" y="178"/>
                  </a:lnTo>
                  <a:lnTo>
                    <a:pt x="154" y="235"/>
                  </a:lnTo>
                  <a:lnTo>
                    <a:pt x="152" y="237"/>
                  </a:lnTo>
                  <a:lnTo>
                    <a:pt x="151" y="240"/>
                  </a:lnTo>
                  <a:lnTo>
                    <a:pt x="31" y="509"/>
                  </a:lnTo>
                  <a:lnTo>
                    <a:pt x="31" y="510"/>
                  </a:lnTo>
                  <a:lnTo>
                    <a:pt x="31" y="511"/>
                  </a:lnTo>
                  <a:lnTo>
                    <a:pt x="24" y="523"/>
                  </a:lnTo>
                  <a:lnTo>
                    <a:pt x="18" y="536"/>
                  </a:lnTo>
                  <a:lnTo>
                    <a:pt x="13" y="549"/>
                  </a:lnTo>
                  <a:lnTo>
                    <a:pt x="9" y="562"/>
                  </a:lnTo>
                  <a:lnTo>
                    <a:pt x="4" y="576"/>
                  </a:lnTo>
                  <a:lnTo>
                    <a:pt x="2" y="590"/>
                  </a:lnTo>
                  <a:lnTo>
                    <a:pt x="1" y="604"/>
                  </a:lnTo>
                  <a:lnTo>
                    <a:pt x="0" y="619"/>
                  </a:lnTo>
                  <a:lnTo>
                    <a:pt x="0" y="630"/>
                  </a:lnTo>
                  <a:lnTo>
                    <a:pt x="1" y="641"/>
                  </a:lnTo>
                  <a:lnTo>
                    <a:pt x="2" y="651"/>
                  </a:lnTo>
                  <a:lnTo>
                    <a:pt x="4" y="662"/>
                  </a:lnTo>
                  <a:lnTo>
                    <a:pt x="10" y="681"/>
                  </a:lnTo>
                  <a:lnTo>
                    <a:pt x="17" y="700"/>
                  </a:lnTo>
                  <a:lnTo>
                    <a:pt x="26" y="719"/>
                  </a:lnTo>
                  <a:lnTo>
                    <a:pt x="36" y="736"/>
                  </a:lnTo>
                  <a:lnTo>
                    <a:pt x="48" y="753"/>
                  </a:lnTo>
                  <a:lnTo>
                    <a:pt x="61" y="767"/>
                  </a:lnTo>
                  <a:lnTo>
                    <a:pt x="76" y="781"/>
                  </a:lnTo>
                  <a:lnTo>
                    <a:pt x="92" y="792"/>
                  </a:lnTo>
                  <a:lnTo>
                    <a:pt x="110" y="803"/>
                  </a:lnTo>
                  <a:lnTo>
                    <a:pt x="128" y="812"/>
                  </a:lnTo>
                  <a:lnTo>
                    <a:pt x="148" y="819"/>
                  </a:lnTo>
                  <a:lnTo>
                    <a:pt x="167" y="824"/>
                  </a:lnTo>
                  <a:lnTo>
                    <a:pt x="178" y="827"/>
                  </a:lnTo>
                  <a:lnTo>
                    <a:pt x="188" y="828"/>
                  </a:lnTo>
                  <a:lnTo>
                    <a:pt x="199" y="829"/>
                  </a:lnTo>
                  <a:lnTo>
                    <a:pt x="210" y="829"/>
                  </a:lnTo>
                  <a:lnTo>
                    <a:pt x="231" y="828"/>
                  </a:lnTo>
                  <a:lnTo>
                    <a:pt x="251" y="824"/>
                  </a:lnTo>
                  <a:lnTo>
                    <a:pt x="272" y="819"/>
                  </a:lnTo>
                  <a:lnTo>
                    <a:pt x="291" y="812"/>
                  </a:lnTo>
                  <a:lnTo>
                    <a:pt x="309" y="803"/>
                  </a:lnTo>
                  <a:lnTo>
                    <a:pt x="326" y="792"/>
                  </a:lnTo>
                  <a:lnTo>
                    <a:pt x="342" y="781"/>
                  </a:lnTo>
                  <a:lnTo>
                    <a:pt x="357" y="767"/>
                  </a:lnTo>
                  <a:lnTo>
                    <a:pt x="371" y="753"/>
                  </a:lnTo>
                  <a:lnTo>
                    <a:pt x="383" y="737"/>
                  </a:lnTo>
                  <a:lnTo>
                    <a:pt x="394" y="719"/>
                  </a:lnTo>
                  <a:lnTo>
                    <a:pt x="402" y="700"/>
                  </a:lnTo>
                  <a:lnTo>
                    <a:pt x="409" y="681"/>
                  </a:lnTo>
                  <a:lnTo>
                    <a:pt x="414" y="662"/>
                  </a:lnTo>
                  <a:lnTo>
                    <a:pt x="416" y="651"/>
                  </a:lnTo>
                  <a:lnTo>
                    <a:pt x="417" y="641"/>
                  </a:lnTo>
                  <a:lnTo>
                    <a:pt x="418" y="630"/>
                  </a:lnTo>
                  <a:lnTo>
                    <a:pt x="418" y="619"/>
                  </a:lnTo>
                  <a:lnTo>
                    <a:pt x="418" y="292"/>
                  </a:lnTo>
                  <a:lnTo>
                    <a:pt x="433" y="291"/>
                  </a:lnTo>
                  <a:lnTo>
                    <a:pt x="448" y="291"/>
                  </a:lnTo>
                  <a:lnTo>
                    <a:pt x="464" y="291"/>
                  </a:lnTo>
                  <a:lnTo>
                    <a:pt x="478" y="292"/>
                  </a:lnTo>
                  <a:lnTo>
                    <a:pt x="478" y="619"/>
                  </a:lnTo>
                  <a:lnTo>
                    <a:pt x="478" y="630"/>
                  </a:lnTo>
                  <a:lnTo>
                    <a:pt x="479" y="641"/>
                  </a:lnTo>
                  <a:lnTo>
                    <a:pt x="480" y="651"/>
                  </a:lnTo>
                  <a:lnTo>
                    <a:pt x="483" y="662"/>
                  </a:lnTo>
                  <a:lnTo>
                    <a:pt x="488" y="681"/>
                  </a:lnTo>
                  <a:lnTo>
                    <a:pt x="495" y="700"/>
                  </a:lnTo>
                  <a:lnTo>
                    <a:pt x="504" y="719"/>
                  </a:lnTo>
                  <a:lnTo>
                    <a:pt x="515" y="736"/>
                  </a:lnTo>
                  <a:lnTo>
                    <a:pt x="526" y="753"/>
                  </a:lnTo>
                  <a:lnTo>
                    <a:pt x="540" y="767"/>
                  </a:lnTo>
                  <a:lnTo>
                    <a:pt x="554" y="781"/>
                  </a:lnTo>
                  <a:lnTo>
                    <a:pt x="570" y="792"/>
                  </a:lnTo>
                  <a:lnTo>
                    <a:pt x="588" y="803"/>
                  </a:lnTo>
                  <a:lnTo>
                    <a:pt x="607" y="812"/>
                  </a:lnTo>
                  <a:lnTo>
                    <a:pt x="626" y="819"/>
                  </a:lnTo>
                  <a:lnTo>
                    <a:pt x="645" y="824"/>
                  </a:lnTo>
                  <a:lnTo>
                    <a:pt x="656" y="827"/>
                  </a:lnTo>
                  <a:lnTo>
                    <a:pt x="666" y="828"/>
                  </a:lnTo>
                  <a:lnTo>
                    <a:pt x="677" y="829"/>
                  </a:lnTo>
                  <a:lnTo>
                    <a:pt x="688" y="829"/>
                  </a:lnTo>
                  <a:lnTo>
                    <a:pt x="709" y="828"/>
                  </a:lnTo>
                  <a:lnTo>
                    <a:pt x="730" y="824"/>
                  </a:lnTo>
                  <a:lnTo>
                    <a:pt x="750" y="819"/>
                  </a:lnTo>
                  <a:lnTo>
                    <a:pt x="769" y="812"/>
                  </a:lnTo>
                  <a:lnTo>
                    <a:pt x="787" y="803"/>
                  </a:lnTo>
                  <a:lnTo>
                    <a:pt x="804" y="792"/>
                  </a:lnTo>
                  <a:lnTo>
                    <a:pt x="821" y="781"/>
                  </a:lnTo>
                  <a:lnTo>
                    <a:pt x="835" y="767"/>
                  </a:lnTo>
                  <a:lnTo>
                    <a:pt x="849" y="753"/>
                  </a:lnTo>
                  <a:lnTo>
                    <a:pt x="861" y="737"/>
                  </a:lnTo>
                  <a:lnTo>
                    <a:pt x="872" y="719"/>
                  </a:lnTo>
                  <a:lnTo>
                    <a:pt x="880" y="700"/>
                  </a:lnTo>
                  <a:lnTo>
                    <a:pt x="888" y="681"/>
                  </a:lnTo>
                  <a:lnTo>
                    <a:pt x="892" y="662"/>
                  </a:lnTo>
                  <a:lnTo>
                    <a:pt x="894" y="651"/>
                  </a:lnTo>
                  <a:lnTo>
                    <a:pt x="895" y="641"/>
                  </a:lnTo>
                  <a:lnTo>
                    <a:pt x="896" y="630"/>
                  </a:lnTo>
                  <a:lnTo>
                    <a:pt x="896" y="619"/>
                  </a:lnTo>
                  <a:lnTo>
                    <a:pt x="896" y="604"/>
                  </a:lnTo>
                  <a:lnTo>
                    <a:pt x="894" y="590"/>
                  </a:lnTo>
                  <a:lnTo>
                    <a:pt x="892" y="576"/>
                  </a:lnTo>
                  <a:lnTo>
                    <a:pt x="889" y="562"/>
                  </a:lnTo>
                  <a:lnTo>
                    <a:pt x="885" y="549"/>
                  </a:lnTo>
                  <a:lnTo>
                    <a:pt x="879" y="536"/>
                  </a:lnTo>
                  <a:lnTo>
                    <a:pt x="873" y="523"/>
                  </a:lnTo>
                  <a:lnTo>
                    <a:pt x="867" y="511"/>
                  </a:lnTo>
                  <a:lnTo>
                    <a:pt x="867" y="5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275">
              <a:extLst>
                <a:ext uri="{FF2B5EF4-FFF2-40B4-BE49-F238E27FC236}">
                  <a16:creationId xmlns:a16="http://schemas.microsoft.com/office/drawing/2014/main" id="{3B7826DA-829F-4688-9382-D51FAA4007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2350" y="2657476"/>
              <a:ext cx="44450" cy="44450"/>
            </a:xfrm>
            <a:custGeom>
              <a:avLst/>
              <a:gdLst>
                <a:gd name="T0" fmla="*/ 114 w 142"/>
                <a:gd name="T1" fmla="*/ 1 h 144"/>
                <a:gd name="T2" fmla="*/ 90 w 142"/>
                <a:gd name="T3" fmla="*/ 6 h 144"/>
                <a:gd name="T4" fmla="*/ 66 w 142"/>
                <a:gd name="T5" fmla="*/ 15 h 144"/>
                <a:gd name="T6" fmla="*/ 46 w 142"/>
                <a:gd name="T7" fmla="*/ 29 h 144"/>
                <a:gd name="T8" fmla="*/ 29 w 142"/>
                <a:gd name="T9" fmla="*/ 47 h 144"/>
                <a:gd name="T10" fmla="*/ 15 w 142"/>
                <a:gd name="T11" fmla="*/ 68 h 144"/>
                <a:gd name="T12" fmla="*/ 5 w 142"/>
                <a:gd name="T13" fmla="*/ 90 h 144"/>
                <a:gd name="T14" fmla="*/ 0 w 142"/>
                <a:gd name="T15" fmla="*/ 116 h 144"/>
                <a:gd name="T16" fmla="*/ 0 w 142"/>
                <a:gd name="T17" fmla="*/ 132 h 144"/>
                <a:gd name="T18" fmla="*/ 2 w 142"/>
                <a:gd name="T19" fmla="*/ 136 h 144"/>
                <a:gd name="T20" fmla="*/ 6 w 142"/>
                <a:gd name="T21" fmla="*/ 140 h 144"/>
                <a:gd name="T22" fmla="*/ 12 w 142"/>
                <a:gd name="T23" fmla="*/ 142 h 144"/>
                <a:gd name="T24" fmla="*/ 17 w 142"/>
                <a:gd name="T25" fmla="*/ 142 h 144"/>
                <a:gd name="T26" fmla="*/ 22 w 142"/>
                <a:gd name="T27" fmla="*/ 140 h 144"/>
                <a:gd name="T28" fmla="*/ 27 w 142"/>
                <a:gd name="T29" fmla="*/ 137 h 144"/>
                <a:gd name="T30" fmla="*/ 29 w 142"/>
                <a:gd name="T31" fmla="*/ 132 h 144"/>
                <a:gd name="T32" fmla="*/ 30 w 142"/>
                <a:gd name="T33" fmla="*/ 118 h 144"/>
                <a:gd name="T34" fmla="*/ 34 w 142"/>
                <a:gd name="T35" fmla="*/ 99 h 144"/>
                <a:gd name="T36" fmla="*/ 42 w 142"/>
                <a:gd name="T37" fmla="*/ 82 h 144"/>
                <a:gd name="T38" fmla="*/ 51 w 142"/>
                <a:gd name="T39" fmla="*/ 65 h 144"/>
                <a:gd name="T40" fmla="*/ 65 w 142"/>
                <a:gd name="T41" fmla="*/ 53 h 144"/>
                <a:gd name="T42" fmla="*/ 81 w 142"/>
                <a:gd name="T43" fmla="*/ 42 h 144"/>
                <a:gd name="T44" fmla="*/ 98 w 142"/>
                <a:gd name="T45" fmla="*/ 34 h 144"/>
                <a:gd name="T46" fmla="*/ 118 w 142"/>
                <a:gd name="T47" fmla="*/ 30 h 144"/>
                <a:gd name="T48" fmla="*/ 131 w 142"/>
                <a:gd name="T49" fmla="*/ 30 h 144"/>
                <a:gd name="T50" fmla="*/ 136 w 142"/>
                <a:gd name="T51" fmla="*/ 28 h 144"/>
                <a:gd name="T52" fmla="*/ 140 w 142"/>
                <a:gd name="T53" fmla="*/ 24 h 144"/>
                <a:gd name="T54" fmla="*/ 142 w 142"/>
                <a:gd name="T55" fmla="*/ 18 h 144"/>
                <a:gd name="T56" fmla="*/ 142 w 142"/>
                <a:gd name="T57" fmla="*/ 12 h 144"/>
                <a:gd name="T58" fmla="*/ 140 w 142"/>
                <a:gd name="T59" fmla="*/ 7 h 144"/>
                <a:gd name="T60" fmla="*/ 136 w 142"/>
                <a:gd name="T61" fmla="*/ 2 h 144"/>
                <a:gd name="T62" fmla="*/ 131 w 142"/>
                <a:gd name="T63" fmla="*/ 0 h 144"/>
                <a:gd name="T64" fmla="*/ 127 w 142"/>
                <a:gd name="T65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2" h="144">
                  <a:moveTo>
                    <a:pt x="127" y="0"/>
                  </a:moveTo>
                  <a:lnTo>
                    <a:pt x="114" y="1"/>
                  </a:lnTo>
                  <a:lnTo>
                    <a:pt x="102" y="2"/>
                  </a:lnTo>
                  <a:lnTo>
                    <a:pt x="90" y="6"/>
                  </a:lnTo>
                  <a:lnTo>
                    <a:pt x="78" y="10"/>
                  </a:lnTo>
                  <a:lnTo>
                    <a:pt x="66" y="15"/>
                  </a:lnTo>
                  <a:lnTo>
                    <a:pt x="56" y="22"/>
                  </a:lnTo>
                  <a:lnTo>
                    <a:pt x="46" y="29"/>
                  </a:lnTo>
                  <a:lnTo>
                    <a:pt x="37" y="38"/>
                  </a:lnTo>
                  <a:lnTo>
                    <a:pt x="29" y="47"/>
                  </a:lnTo>
                  <a:lnTo>
                    <a:pt x="21" y="57"/>
                  </a:lnTo>
                  <a:lnTo>
                    <a:pt x="15" y="68"/>
                  </a:lnTo>
                  <a:lnTo>
                    <a:pt x="10" y="78"/>
                  </a:lnTo>
                  <a:lnTo>
                    <a:pt x="5" y="90"/>
                  </a:lnTo>
                  <a:lnTo>
                    <a:pt x="2" y="103"/>
                  </a:lnTo>
                  <a:lnTo>
                    <a:pt x="0" y="116"/>
                  </a:lnTo>
                  <a:lnTo>
                    <a:pt x="0" y="129"/>
                  </a:lnTo>
                  <a:lnTo>
                    <a:pt x="0" y="132"/>
                  </a:lnTo>
                  <a:lnTo>
                    <a:pt x="1" y="134"/>
                  </a:lnTo>
                  <a:lnTo>
                    <a:pt x="2" y="136"/>
                  </a:lnTo>
                  <a:lnTo>
                    <a:pt x="4" y="139"/>
                  </a:lnTo>
                  <a:lnTo>
                    <a:pt x="6" y="140"/>
                  </a:lnTo>
                  <a:lnTo>
                    <a:pt x="9" y="142"/>
                  </a:lnTo>
                  <a:lnTo>
                    <a:pt x="12" y="142"/>
                  </a:lnTo>
                  <a:lnTo>
                    <a:pt x="15" y="144"/>
                  </a:lnTo>
                  <a:lnTo>
                    <a:pt x="17" y="142"/>
                  </a:lnTo>
                  <a:lnTo>
                    <a:pt x="20" y="142"/>
                  </a:lnTo>
                  <a:lnTo>
                    <a:pt x="22" y="140"/>
                  </a:lnTo>
                  <a:lnTo>
                    <a:pt x="25" y="139"/>
                  </a:lnTo>
                  <a:lnTo>
                    <a:pt x="27" y="137"/>
                  </a:lnTo>
                  <a:lnTo>
                    <a:pt x="28" y="134"/>
                  </a:lnTo>
                  <a:lnTo>
                    <a:pt x="29" y="132"/>
                  </a:lnTo>
                  <a:lnTo>
                    <a:pt x="30" y="129"/>
                  </a:lnTo>
                  <a:lnTo>
                    <a:pt x="30" y="118"/>
                  </a:lnTo>
                  <a:lnTo>
                    <a:pt x="31" y="108"/>
                  </a:lnTo>
                  <a:lnTo>
                    <a:pt x="34" y="99"/>
                  </a:lnTo>
                  <a:lnTo>
                    <a:pt x="37" y="90"/>
                  </a:lnTo>
                  <a:lnTo>
                    <a:pt x="42" y="82"/>
                  </a:lnTo>
                  <a:lnTo>
                    <a:pt x="46" y="73"/>
                  </a:lnTo>
                  <a:lnTo>
                    <a:pt x="51" y="65"/>
                  </a:lnTo>
                  <a:lnTo>
                    <a:pt x="58" y="59"/>
                  </a:lnTo>
                  <a:lnTo>
                    <a:pt x="65" y="53"/>
                  </a:lnTo>
                  <a:lnTo>
                    <a:pt x="73" y="47"/>
                  </a:lnTo>
                  <a:lnTo>
                    <a:pt x="81" y="42"/>
                  </a:lnTo>
                  <a:lnTo>
                    <a:pt x="90" y="38"/>
                  </a:lnTo>
                  <a:lnTo>
                    <a:pt x="98" y="34"/>
                  </a:lnTo>
                  <a:lnTo>
                    <a:pt x="108" y="32"/>
                  </a:lnTo>
                  <a:lnTo>
                    <a:pt x="118" y="30"/>
                  </a:lnTo>
                  <a:lnTo>
                    <a:pt x="127" y="30"/>
                  </a:lnTo>
                  <a:lnTo>
                    <a:pt x="131" y="30"/>
                  </a:lnTo>
                  <a:lnTo>
                    <a:pt x="134" y="29"/>
                  </a:lnTo>
                  <a:lnTo>
                    <a:pt x="136" y="28"/>
                  </a:lnTo>
                  <a:lnTo>
                    <a:pt x="138" y="26"/>
                  </a:lnTo>
                  <a:lnTo>
                    <a:pt x="140" y="24"/>
                  </a:lnTo>
                  <a:lnTo>
                    <a:pt x="141" y="21"/>
                  </a:lnTo>
                  <a:lnTo>
                    <a:pt x="142" y="18"/>
                  </a:lnTo>
                  <a:lnTo>
                    <a:pt x="142" y="15"/>
                  </a:lnTo>
                  <a:lnTo>
                    <a:pt x="142" y="12"/>
                  </a:lnTo>
                  <a:lnTo>
                    <a:pt x="141" y="10"/>
                  </a:lnTo>
                  <a:lnTo>
                    <a:pt x="140" y="7"/>
                  </a:lnTo>
                  <a:lnTo>
                    <a:pt x="138" y="5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1" y="0"/>
                  </a:lnTo>
                  <a:lnTo>
                    <a:pt x="127" y="0"/>
                  </a:lnTo>
                  <a:lnTo>
                    <a:pt x="1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276">
              <a:extLst>
                <a:ext uri="{FF2B5EF4-FFF2-40B4-BE49-F238E27FC236}">
                  <a16:creationId xmlns:a16="http://schemas.microsoft.com/office/drawing/2014/main" id="{819956DA-3B7F-44B9-9961-D50D5F8DE6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7925" y="2657476"/>
              <a:ext cx="44450" cy="44450"/>
            </a:xfrm>
            <a:custGeom>
              <a:avLst/>
              <a:gdLst>
                <a:gd name="T0" fmla="*/ 114 w 142"/>
                <a:gd name="T1" fmla="*/ 1 h 144"/>
                <a:gd name="T2" fmla="*/ 90 w 142"/>
                <a:gd name="T3" fmla="*/ 6 h 144"/>
                <a:gd name="T4" fmla="*/ 66 w 142"/>
                <a:gd name="T5" fmla="*/ 15 h 144"/>
                <a:gd name="T6" fmla="*/ 46 w 142"/>
                <a:gd name="T7" fmla="*/ 29 h 144"/>
                <a:gd name="T8" fmla="*/ 29 w 142"/>
                <a:gd name="T9" fmla="*/ 47 h 144"/>
                <a:gd name="T10" fmla="*/ 15 w 142"/>
                <a:gd name="T11" fmla="*/ 68 h 144"/>
                <a:gd name="T12" fmla="*/ 5 w 142"/>
                <a:gd name="T13" fmla="*/ 90 h 144"/>
                <a:gd name="T14" fmla="*/ 0 w 142"/>
                <a:gd name="T15" fmla="*/ 116 h 144"/>
                <a:gd name="T16" fmla="*/ 0 w 142"/>
                <a:gd name="T17" fmla="*/ 132 h 144"/>
                <a:gd name="T18" fmla="*/ 2 w 142"/>
                <a:gd name="T19" fmla="*/ 136 h 144"/>
                <a:gd name="T20" fmla="*/ 6 w 142"/>
                <a:gd name="T21" fmla="*/ 140 h 144"/>
                <a:gd name="T22" fmla="*/ 12 w 142"/>
                <a:gd name="T23" fmla="*/ 142 h 144"/>
                <a:gd name="T24" fmla="*/ 17 w 142"/>
                <a:gd name="T25" fmla="*/ 142 h 144"/>
                <a:gd name="T26" fmla="*/ 22 w 142"/>
                <a:gd name="T27" fmla="*/ 140 h 144"/>
                <a:gd name="T28" fmla="*/ 27 w 142"/>
                <a:gd name="T29" fmla="*/ 137 h 144"/>
                <a:gd name="T30" fmla="*/ 29 w 142"/>
                <a:gd name="T31" fmla="*/ 132 h 144"/>
                <a:gd name="T32" fmla="*/ 30 w 142"/>
                <a:gd name="T33" fmla="*/ 118 h 144"/>
                <a:gd name="T34" fmla="*/ 34 w 142"/>
                <a:gd name="T35" fmla="*/ 99 h 144"/>
                <a:gd name="T36" fmla="*/ 42 w 142"/>
                <a:gd name="T37" fmla="*/ 82 h 144"/>
                <a:gd name="T38" fmla="*/ 51 w 142"/>
                <a:gd name="T39" fmla="*/ 65 h 144"/>
                <a:gd name="T40" fmla="*/ 65 w 142"/>
                <a:gd name="T41" fmla="*/ 53 h 144"/>
                <a:gd name="T42" fmla="*/ 81 w 142"/>
                <a:gd name="T43" fmla="*/ 42 h 144"/>
                <a:gd name="T44" fmla="*/ 98 w 142"/>
                <a:gd name="T45" fmla="*/ 34 h 144"/>
                <a:gd name="T46" fmla="*/ 118 w 142"/>
                <a:gd name="T47" fmla="*/ 30 h 144"/>
                <a:gd name="T48" fmla="*/ 130 w 142"/>
                <a:gd name="T49" fmla="*/ 30 h 144"/>
                <a:gd name="T50" fmla="*/ 136 w 142"/>
                <a:gd name="T51" fmla="*/ 28 h 144"/>
                <a:gd name="T52" fmla="*/ 140 w 142"/>
                <a:gd name="T53" fmla="*/ 24 h 144"/>
                <a:gd name="T54" fmla="*/ 142 w 142"/>
                <a:gd name="T55" fmla="*/ 18 h 144"/>
                <a:gd name="T56" fmla="*/ 142 w 142"/>
                <a:gd name="T57" fmla="*/ 12 h 144"/>
                <a:gd name="T58" fmla="*/ 140 w 142"/>
                <a:gd name="T59" fmla="*/ 7 h 144"/>
                <a:gd name="T60" fmla="*/ 136 w 142"/>
                <a:gd name="T61" fmla="*/ 2 h 144"/>
                <a:gd name="T62" fmla="*/ 130 w 142"/>
                <a:gd name="T63" fmla="*/ 0 h 144"/>
                <a:gd name="T64" fmla="*/ 127 w 142"/>
                <a:gd name="T65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2" h="144">
                  <a:moveTo>
                    <a:pt x="127" y="0"/>
                  </a:moveTo>
                  <a:lnTo>
                    <a:pt x="114" y="1"/>
                  </a:lnTo>
                  <a:lnTo>
                    <a:pt x="102" y="2"/>
                  </a:lnTo>
                  <a:lnTo>
                    <a:pt x="90" y="6"/>
                  </a:lnTo>
                  <a:lnTo>
                    <a:pt x="78" y="10"/>
                  </a:lnTo>
                  <a:lnTo>
                    <a:pt x="66" y="15"/>
                  </a:lnTo>
                  <a:lnTo>
                    <a:pt x="56" y="22"/>
                  </a:lnTo>
                  <a:lnTo>
                    <a:pt x="46" y="29"/>
                  </a:lnTo>
                  <a:lnTo>
                    <a:pt x="37" y="38"/>
                  </a:lnTo>
                  <a:lnTo>
                    <a:pt x="29" y="47"/>
                  </a:lnTo>
                  <a:lnTo>
                    <a:pt x="21" y="57"/>
                  </a:lnTo>
                  <a:lnTo>
                    <a:pt x="15" y="68"/>
                  </a:lnTo>
                  <a:lnTo>
                    <a:pt x="10" y="78"/>
                  </a:lnTo>
                  <a:lnTo>
                    <a:pt x="5" y="90"/>
                  </a:lnTo>
                  <a:lnTo>
                    <a:pt x="2" y="103"/>
                  </a:lnTo>
                  <a:lnTo>
                    <a:pt x="0" y="116"/>
                  </a:lnTo>
                  <a:lnTo>
                    <a:pt x="0" y="129"/>
                  </a:lnTo>
                  <a:lnTo>
                    <a:pt x="0" y="132"/>
                  </a:lnTo>
                  <a:lnTo>
                    <a:pt x="1" y="134"/>
                  </a:lnTo>
                  <a:lnTo>
                    <a:pt x="2" y="136"/>
                  </a:lnTo>
                  <a:lnTo>
                    <a:pt x="4" y="139"/>
                  </a:lnTo>
                  <a:lnTo>
                    <a:pt x="6" y="140"/>
                  </a:lnTo>
                  <a:lnTo>
                    <a:pt x="8" y="142"/>
                  </a:lnTo>
                  <a:lnTo>
                    <a:pt x="12" y="142"/>
                  </a:lnTo>
                  <a:lnTo>
                    <a:pt x="15" y="144"/>
                  </a:lnTo>
                  <a:lnTo>
                    <a:pt x="17" y="142"/>
                  </a:lnTo>
                  <a:lnTo>
                    <a:pt x="20" y="142"/>
                  </a:lnTo>
                  <a:lnTo>
                    <a:pt x="22" y="140"/>
                  </a:lnTo>
                  <a:lnTo>
                    <a:pt x="25" y="139"/>
                  </a:lnTo>
                  <a:lnTo>
                    <a:pt x="27" y="137"/>
                  </a:lnTo>
                  <a:lnTo>
                    <a:pt x="28" y="134"/>
                  </a:lnTo>
                  <a:lnTo>
                    <a:pt x="29" y="132"/>
                  </a:lnTo>
                  <a:lnTo>
                    <a:pt x="30" y="129"/>
                  </a:lnTo>
                  <a:lnTo>
                    <a:pt x="30" y="118"/>
                  </a:lnTo>
                  <a:lnTo>
                    <a:pt x="31" y="108"/>
                  </a:lnTo>
                  <a:lnTo>
                    <a:pt x="34" y="99"/>
                  </a:lnTo>
                  <a:lnTo>
                    <a:pt x="37" y="90"/>
                  </a:lnTo>
                  <a:lnTo>
                    <a:pt x="42" y="82"/>
                  </a:lnTo>
                  <a:lnTo>
                    <a:pt x="46" y="73"/>
                  </a:lnTo>
                  <a:lnTo>
                    <a:pt x="51" y="65"/>
                  </a:lnTo>
                  <a:lnTo>
                    <a:pt x="58" y="59"/>
                  </a:lnTo>
                  <a:lnTo>
                    <a:pt x="65" y="53"/>
                  </a:lnTo>
                  <a:lnTo>
                    <a:pt x="73" y="47"/>
                  </a:lnTo>
                  <a:lnTo>
                    <a:pt x="81" y="42"/>
                  </a:lnTo>
                  <a:lnTo>
                    <a:pt x="90" y="38"/>
                  </a:lnTo>
                  <a:lnTo>
                    <a:pt x="98" y="34"/>
                  </a:lnTo>
                  <a:lnTo>
                    <a:pt x="108" y="32"/>
                  </a:lnTo>
                  <a:lnTo>
                    <a:pt x="118" y="30"/>
                  </a:lnTo>
                  <a:lnTo>
                    <a:pt x="127" y="30"/>
                  </a:lnTo>
                  <a:lnTo>
                    <a:pt x="130" y="30"/>
                  </a:lnTo>
                  <a:lnTo>
                    <a:pt x="134" y="29"/>
                  </a:lnTo>
                  <a:lnTo>
                    <a:pt x="136" y="28"/>
                  </a:lnTo>
                  <a:lnTo>
                    <a:pt x="138" y="26"/>
                  </a:lnTo>
                  <a:lnTo>
                    <a:pt x="140" y="24"/>
                  </a:lnTo>
                  <a:lnTo>
                    <a:pt x="141" y="21"/>
                  </a:lnTo>
                  <a:lnTo>
                    <a:pt x="142" y="18"/>
                  </a:lnTo>
                  <a:lnTo>
                    <a:pt x="142" y="15"/>
                  </a:lnTo>
                  <a:lnTo>
                    <a:pt x="142" y="12"/>
                  </a:lnTo>
                  <a:lnTo>
                    <a:pt x="141" y="10"/>
                  </a:lnTo>
                  <a:lnTo>
                    <a:pt x="140" y="7"/>
                  </a:lnTo>
                  <a:lnTo>
                    <a:pt x="138" y="5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0" y="0"/>
                  </a:lnTo>
                  <a:lnTo>
                    <a:pt x="127" y="0"/>
                  </a:lnTo>
                  <a:lnTo>
                    <a:pt x="1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2472F4FB-72BA-4B35-B387-A3ECFF4FC1A9}"/>
              </a:ext>
            </a:extLst>
          </p:cNvPr>
          <p:cNvGrpSpPr/>
          <p:nvPr/>
        </p:nvGrpSpPr>
        <p:grpSpPr>
          <a:xfrm>
            <a:off x="4798950" y="5566253"/>
            <a:ext cx="284162" cy="284163"/>
            <a:chOff x="9318625" y="3616326"/>
            <a:chExt cx="284162" cy="284163"/>
          </a:xfrm>
          <a:solidFill>
            <a:schemeClr val="bg1"/>
          </a:solidFill>
        </p:grpSpPr>
        <p:sp>
          <p:nvSpPr>
            <p:cNvPr id="106" name="Freeform 298">
              <a:extLst>
                <a:ext uri="{FF2B5EF4-FFF2-40B4-BE49-F238E27FC236}">
                  <a16:creationId xmlns:a16="http://schemas.microsoft.com/office/drawing/2014/main" id="{B0784884-99E1-40FE-A9D1-34B585CAD8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56725" y="3810001"/>
              <a:ext cx="47625" cy="47625"/>
            </a:xfrm>
            <a:custGeom>
              <a:avLst/>
              <a:gdLst>
                <a:gd name="T0" fmla="*/ 66 w 150"/>
                <a:gd name="T1" fmla="*/ 117 h 148"/>
                <a:gd name="T2" fmla="*/ 50 w 150"/>
                <a:gd name="T3" fmla="*/ 111 h 148"/>
                <a:gd name="T4" fmla="*/ 37 w 150"/>
                <a:gd name="T5" fmla="*/ 99 h 148"/>
                <a:gd name="T6" fmla="*/ 31 w 150"/>
                <a:gd name="T7" fmla="*/ 83 h 148"/>
                <a:gd name="T8" fmla="*/ 31 w 150"/>
                <a:gd name="T9" fmla="*/ 65 h 148"/>
                <a:gd name="T10" fmla="*/ 37 w 150"/>
                <a:gd name="T11" fmla="*/ 49 h 148"/>
                <a:gd name="T12" fmla="*/ 50 w 150"/>
                <a:gd name="T13" fmla="*/ 37 h 148"/>
                <a:gd name="T14" fmla="*/ 66 w 150"/>
                <a:gd name="T15" fmla="*/ 30 h 148"/>
                <a:gd name="T16" fmla="*/ 85 w 150"/>
                <a:gd name="T17" fmla="*/ 30 h 148"/>
                <a:gd name="T18" fmla="*/ 101 w 150"/>
                <a:gd name="T19" fmla="*/ 37 h 148"/>
                <a:gd name="T20" fmla="*/ 112 w 150"/>
                <a:gd name="T21" fmla="*/ 49 h 148"/>
                <a:gd name="T22" fmla="*/ 119 w 150"/>
                <a:gd name="T23" fmla="*/ 65 h 148"/>
                <a:gd name="T24" fmla="*/ 119 w 150"/>
                <a:gd name="T25" fmla="*/ 83 h 148"/>
                <a:gd name="T26" fmla="*/ 112 w 150"/>
                <a:gd name="T27" fmla="*/ 99 h 148"/>
                <a:gd name="T28" fmla="*/ 101 w 150"/>
                <a:gd name="T29" fmla="*/ 111 h 148"/>
                <a:gd name="T30" fmla="*/ 85 w 150"/>
                <a:gd name="T31" fmla="*/ 117 h 148"/>
                <a:gd name="T32" fmla="*/ 75 w 150"/>
                <a:gd name="T33" fmla="*/ 0 h 148"/>
                <a:gd name="T34" fmla="*/ 60 w 150"/>
                <a:gd name="T35" fmla="*/ 1 h 148"/>
                <a:gd name="T36" fmla="*/ 46 w 150"/>
                <a:gd name="T37" fmla="*/ 5 h 148"/>
                <a:gd name="T38" fmla="*/ 33 w 150"/>
                <a:gd name="T39" fmla="*/ 11 h 148"/>
                <a:gd name="T40" fmla="*/ 22 w 150"/>
                <a:gd name="T41" fmla="*/ 21 h 148"/>
                <a:gd name="T42" fmla="*/ 13 w 150"/>
                <a:gd name="T43" fmla="*/ 32 h 148"/>
                <a:gd name="T44" fmla="*/ 6 w 150"/>
                <a:gd name="T45" fmla="*/ 45 h 148"/>
                <a:gd name="T46" fmla="*/ 2 w 150"/>
                <a:gd name="T47" fmla="*/ 58 h 148"/>
                <a:gd name="T48" fmla="*/ 0 w 150"/>
                <a:gd name="T49" fmla="*/ 73 h 148"/>
                <a:gd name="T50" fmla="*/ 2 w 150"/>
                <a:gd name="T51" fmla="*/ 88 h 148"/>
                <a:gd name="T52" fmla="*/ 6 w 150"/>
                <a:gd name="T53" fmla="*/ 103 h 148"/>
                <a:gd name="T54" fmla="*/ 13 w 150"/>
                <a:gd name="T55" fmla="*/ 115 h 148"/>
                <a:gd name="T56" fmla="*/ 22 w 150"/>
                <a:gd name="T57" fmla="*/ 127 h 148"/>
                <a:gd name="T58" fmla="*/ 33 w 150"/>
                <a:gd name="T59" fmla="*/ 135 h 148"/>
                <a:gd name="T60" fmla="*/ 46 w 150"/>
                <a:gd name="T61" fmla="*/ 143 h 148"/>
                <a:gd name="T62" fmla="*/ 60 w 150"/>
                <a:gd name="T63" fmla="*/ 147 h 148"/>
                <a:gd name="T64" fmla="*/ 75 w 150"/>
                <a:gd name="T65" fmla="*/ 148 h 148"/>
                <a:gd name="T66" fmla="*/ 90 w 150"/>
                <a:gd name="T67" fmla="*/ 147 h 148"/>
                <a:gd name="T68" fmla="*/ 104 w 150"/>
                <a:gd name="T69" fmla="*/ 143 h 148"/>
                <a:gd name="T70" fmla="*/ 117 w 150"/>
                <a:gd name="T71" fmla="*/ 135 h 148"/>
                <a:gd name="T72" fmla="*/ 128 w 150"/>
                <a:gd name="T73" fmla="*/ 127 h 148"/>
                <a:gd name="T74" fmla="*/ 137 w 150"/>
                <a:gd name="T75" fmla="*/ 115 h 148"/>
                <a:gd name="T76" fmla="*/ 144 w 150"/>
                <a:gd name="T77" fmla="*/ 103 h 148"/>
                <a:gd name="T78" fmla="*/ 149 w 150"/>
                <a:gd name="T79" fmla="*/ 88 h 148"/>
                <a:gd name="T80" fmla="*/ 150 w 150"/>
                <a:gd name="T81" fmla="*/ 73 h 148"/>
                <a:gd name="T82" fmla="*/ 149 w 150"/>
                <a:gd name="T83" fmla="*/ 58 h 148"/>
                <a:gd name="T84" fmla="*/ 144 w 150"/>
                <a:gd name="T85" fmla="*/ 45 h 148"/>
                <a:gd name="T86" fmla="*/ 137 w 150"/>
                <a:gd name="T87" fmla="*/ 32 h 148"/>
                <a:gd name="T88" fmla="*/ 128 w 150"/>
                <a:gd name="T89" fmla="*/ 21 h 148"/>
                <a:gd name="T90" fmla="*/ 117 w 150"/>
                <a:gd name="T91" fmla="*/ 11 h 148"/>
                <a:gd name="T92" fmla="*/ 104 w 150"/>
                <a:gd name="T93" fmla="*/ 5 h 148"/>
                <a:gd name="T94" fmla="*/ 90 w 150"/>
                <a:gd name="T95" fmla="*/ 1 h 148"/>
                <a:gd name="T96" fmla="*/ 75 w 150"/>
                <a:gd name="T97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0" h="148">
                  <a:moveTo>
                    <a:pt x="75" y="118"/>
                  </a:moveTo>
                  <a:lnTo>
                    <a:pt x="66" y="117"/>
                  </a:lnTo>
                  <a:lnTo>
                    <a:pt x="58" y="115"/>
                  </a:lnTo>
                  <a:lnTo>
                    <a:pt x="50" y="111"/>
                  </a:lnTo>
                  <a:lnTo>
                    <a:pt x="44" y="106"/>
                  </a:lnTo>
                  <a:lnTo>
                    <a:pt x="37" y="99"/>
                  </a:lnTo>
                  <a:lnTo>
                    <a:pt x="34" y="92"/>
                  </a:lnTo>
                  <a:lnTo>
                    <a:pt x="31" y="83"/>
                  </a:lnTo>
                  <a:lnTo>
                    <a:pt x="30" y="73"/>
                  </a:lnTo>
                  <a:lnTo>
                    <a:pt x="31" y="65"/>
                  </a:lnTo>
                  <a:lnTo>
                    <a:pt x="34" y="56"/>
                  </a:lnTo>
                  <a:lnTo>
                    <a:pt x="37" y="49"/>
                  </a:lnTo>
                  <a:lnTo>
                    <a:pt x="44" y="42"/>
                  </a:lnTo>
                  <a:lnTo>
                    <a:pt x="50" y="37"/>
                  </a:lnTo>
                  <a:lnTo>
                    <a:pt x="58" y="33"/>
                  </a:lnTo>
                  <a:lnTo>
                    <a:pt x="66" y="30"/>
                  </a:lnTo>
                  <a:lnTo>
                    <a:pt x="75" y="30"/>
                  </a:lnTo>
                  <a:lnTo>
                    <a:pt x="85" y="30"/>
                  </a:lnTo>
                  <a:lnTo>
                    <a:pt x="93" y="33"/>
                  </a:lnTo>
                  <a:lnTo>
                    <a:pt x="101" y="37"/>
                  </a:lnTo>
                  <a:lnTo>
                    <a:pt x="107" y="42"/>
                  </a:lnTo>
                  <a:lnTo>
                    <a:pt x="112" y="49"/>
                  </a:lnTo>
                  <a:lnTo>
                    <a:pt x="117" y="56"/>
                  </a:lnTo>
                  <a:lnTo>
                    <a:pt x="119" y="65"/>
                  </a:lnTo>
                  <a:lnTo>
                    <a:pt x="120" y="73"/>
                  </a:lnTo>
                  <a:lnTo>
                    <a:pt x="119" y="83"/>
                  </a:lnTo>
                  <a:lnTo>
                    <a:pt x="117" y="92"/>
                  </a:lnTo>
                  <a:lnTo>
                    <a:pt x="112" y="99"/>
                  </a:lnTo>
                  <a:lnTo>
                    <a:pt x="107" y="106"/>
                  </a:lnTo>
                  <a:lnTo>
                    <a:pt x="101" y="111"/>
                  </a:lnTo>
                  <a:lnTo>
                    <a:pt x="93" y="115"/>
                  </a:lnTo>
                  <a:lnTo>
                    <a:pt x="85" y="117"/>
                  </a:lnTo>
                  <a:lnTo>
                    <a:pt x="75" y="118"/>
                  </a:lnTo>
                  <a:close/>
                  <a:moveTo>
                    <a:pt x="75" y="0"/>
                  </a:moveTo>
                  <a:lnTo>
                    <a:pt x="67" y="0"/>
                  </a:lnTo>
                  <a:lnTo>
                    <a:pt x="60" y="1"/>
                  </a:lnTo>
                  <a:lnTo>
                    <a:pt x="52" y="3"/>
                  </a:lnTo>
                  <a:lnTo>
                    <a:pt x="46" y="5"/>
                  </a:lnTo>
                  <a:lnTo>
                    <a:pt x="40" y="8"/>
                  </a:lnTo>
                  <a:lnTo>
                    <a:pt x="33" y="11"/>
                  </a:lnTo>
                  <a:lnTo>
                    <a:pt x="28" y="16"/>
                  </a:lnTo>
                  <a:lnTo>
                    <a:pt x="22" y="21"/>
                  </a:lnTo>
                  <a:lnTo>
                    <a:pt x="17" y="26"/>
                  </a:lnTo>
                  <a:lnTo>
                    <a:pt x="13" y="32"/>
                  </a:lnTo>
                  <a:lnTo>
                    <a:pt x="10" y="38"/>
                  </a:lnTo>
                  <a:lnTo>
                    <a:pt x="6" y="45"/>
                  </a:lnTo>
                  <a:lnTo>
                    <a:pt x="3" y="52"/>
                  </a:lnTo>
                  <a:lnTo>
                    <a:pt x="2" y="58"/>
                  </a:lnTo>
                  <a:lnTo>
                    <a:pt x="1" y="66"/>
                  </a:lnTo>
                  <a:lnTo>
                    <a:pt x="0" y="73"/>
                  </a:lnTo>
                  <a:lnTo>
                    <a:pt x="1" y="82"/>
                  </a:lnTo>
                  <a:lnTo>
                    <a:pt x="2" y="88"/>
                  </a:lnTo>
                  <a:lnTo>
                    <a:pt x="3" y="96"/>
                  </a:lnTo>
                  <a:lnTo>
                    <a:pt x="6" y="103"/>
                  </a:lnTo>
                  <a:lnTo>
                    <a:pt x="10" y="110"/>
                  </a:lnTo>
                  <a:lnTo>
                    <a:pt x="13" y="115"/>
                  </a:lnTo>
                  <a:lnTo>
                    <a:pt x="17" y="122"/>
                  </a:lnTo>
                  <a:lnTo>
                    <a:pt x="22" y="127"/>
                  </a:lnTo>
                  <a:lnTo>
                    <a:pt x="28" y="131"/>
                  </a:lnTo>
                  <a:lnTo>
                    <a:pt x="33" y="135"/>
                  </a:lnTo>
                  <a:lnTo>
                    <a:pt x="40" y="140"/>
                  </a:lnTo>
                  <a:lnTo>
                    <a:pt x="46" y="143"/>
                  </a:lnTo>
                  <a:lnTo>
                    <a:pt x="52" y="145"/>
                  </a:lnTo>
                  <a:lnTo>
                    <a:pt x="60" y="147"/>
                  </a:lnTo>
                  <a:lnTo>
                    <a:pt x="67" y="148"/>
                  </a:lnTo>
                  <a:lnTo>
                    <a:pt x="75" y="148"/>
                  </a:lnTo>
                  <a:lnTo>
                    <a:pt x="82" y="148"/>
                  </a:lnTo>
                  <a:lnTo>
                    <a:pt x="90" y="147"/>
                  </a:lnTo>
                  <a:lnTo>
                    <a:pt x="97" y="145"/>
                  </a:lnTo>
                  <a:lnTo>
                    <a:pt x="104" y="143"/>
                  </a:lnTo>
                  <a:lnTo>
                    <a:pt x="110" y="140"/>
                  </a:lnTo>
                  <a:lnTo>
                    <a:pt x="117" y="135"/>
                  </a:lnTo>
                  <a:lnTo>
                    <a:pt x="123" y="131"/>
                  </a:lnTo>
                  <a:lnTo>
                    <a:pt x="128" y="127"/>
                  </a:lnTo>
                  <a:lnTo>
                    <a:pt x="133" y="122"/>
                  </a:lnTo>
                  <a:lnTo>
                    <a:pt x="137" y="115"/>
                  </a:lnTo>
                  <a:lnTo>
                    <a:pt x="141" y="110"/>
                  </a:lnTo>
                  <a:lnTo>
                    <a:pt x="144" y="103"/>
                  </a:lnTo>
                  <a:lnTo>
                    <a:pt x="147" y="96"/>
                  </a:lnTo>
                  <a:lnTo>
                    <a:pt x="149" y="88"/>
                  </a:lnTo>
                  <a:lnTo>
                    <a:pt x="150" y="82"/>
                  </a:lnTo>
                  <a:lnTo>
                    <a:pt x="150" y="73"/>
                  </a:lnTo>
                  <a:lnTo>
                    <a:pt x="150" y="66"/>
                  </a:lnTo>
                  <a:lnTo>
                    <a:pt x="149" y="58"/>
                  </a:lnTo>
                  <a:lnTo>
                    <a:pt x="147" y="52"/>
                  </a:lnTo>
                  <a:lnTo>
                    <a:pt x="144" y="45"/>
                  </a:lnTo>
                  <a:lnTo>
                    <a:pt x="141" y="38"/>
                  </a:lnTo>
                  <a:lnTo>
                    <a:pt x="137" y="32"/>
                  </a:lnTo>
                  <a:lnTo>
                    <a:pt x="133" y="26"/>
                  </a:lnTo>
                  <a:lnTo>
                    <a:pt x="128" y="21"/>
                  </a:lnTo>
                  <a:lnTo>
                    <a:pt x="123" y="17"/>
                  </a:lnTo>
                  <a:lnTo>
                    <a:pt x="117" y="11"/>
                  </a:lnTo>
                  <a:lnTo>
                    <a:pt x="110" y="8"/>
                  </a:lnTo>
                  <a:lnTo>
                    <a:pt x="104" y="5"/>
                  </a:lnTo>
                  <a:lnTo>
                    <a:pt x="97" y="3"/>
                  </a:lnTo>
                  <a:lnTo>
                    <a:pt x="90" y="1"/>
                  </a:lnTo>
                  <a:lnTo>
                    <a:pt x="82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299">
              <a:extLst>
                <a:ext uri="{FF2B5EF4-FFF2-40B4-BE49-F238E27FC236}">
                  <a16:creationId xmlns:a16="http://schemas.microsoft.com/office/drawing/2014/main" id="{CC413A81-649D-422F-9E60-6C6F5AC017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18625" y="3616326"/>
              <a:ext cx="284162" cy="284163"/>
            </a:xfrm>
            <a:custGeom>
              <a:avLst/>
              <a:gdLst>
                <a:gd name="T0" fmla="*/ 785 w 897"/>
                <a:gd name="T1" fmla="*/ 208 h 896"/>
                <a:gd name="T2" fmla="*/ 687 w 897"/>
                <a:gd name="T3" fmla="*/ 307 h 896"/>
                <a:gd name="T4" fmla="*/ 509 w 897"/>
                <a:gd name="T5" fmla="*/ 499 h 896"/>
                <a:gd name="T6" fmla="*/ 531 w 897"/>
                <a:gd name="T7" fmla="*/ 556 h 896"/>
                <a:gd name="T8" fmla="*/ 538 w 897"/>
                <a:gd name="T9" fmla="*/ 613 h 896"/>
                <a:gd name="T10" fmla="*/ 533 w 897"/>
                <a:gd name="T11" fmla="*/ 663 h 896"/>
                <a:gd name="T12" fmla="*/ 518 w 897"/>
                <a:gd name="T13" fmla="*/ 711 h 896"/>
                <a:gd name="T14" fmla="*/ 494 w 897"/>
                <a:gd name="T15" fmla="*/ 754 h 896"/>
                <a:gd name="T16" fmla="*/ 463 w 897"/>
                <a:gd name="T17" fmla="*/ 791 h 896"/>
                <a:gd name="T18" fmla="*/ 426 w 897"/>
                <a:gd name="T19" fmla="*/ 822 h 896"/>
                <a:gd name="T20" fmla="*/ 382 w 897"/>
                <a:gd name="T21" fmla="*/ 846 h 896"/>
                <a:gd name="T22" fmla="*/ 335 w 897"/>
                <a:gd name="T23" fmla="*/ 861 h 896"/>
                <a:gd name="T24" fmla="*/ 284 w 897"/>
                <a:gd name="T25" fmla="*/ 866 h 896"/>
                <a:gd name="T26" fmla="*/ 232 w 897"/>
                <a:gd name="T27" fmla="*/ 861 h 896"/>
                <a:gd name="T28" fmla="*/ 185 w 897"/>
                <a:gd name="T29" fmla="*/ 846 h 896"/>
                <a:gd name="T30" fmla="*/ 141 w 897"/>
                <a:gd name="T31" fmla="*/ 822 h 896"/>
                <a:gd name="T32" fmla="*/ 104 w 897"/>
                <a:gd name="T33" fmla="*/ 791 h 896"/>
                <a:gd name="T34" fmla="*/ 73 w 897"/>
                <a:gd name="T35" fmla="*/ 754 h 896"/>
                <a:gd name="T36" fmla="*/ 49 w 897"/>
                <a:gd name="T37" fmla="*/ 711 h 896"/>
                <a:gd name="T38" fmla="*/ 35 w 897"/>
                <a:gd name="T39" fmla="*/ 663 h 896"/>
                <a:gd name="T40" fmla="*/ 30 w 897"/>
                <a:gd name="T41" fmla="*/ 613 h 896"/>
                <a:gd name="T42" fmla="*/ 35 w 897"/>
                <a:gd name="T43" fmla="*/ 561 h 896"/>
                <a:gd name="T44" fmla="*/ 49 w 897"/>
                <a:gd name="T45" fmla="*/ 513 h 896"/>
                <a:gd name="T46" fmla="*/ 73 w 897"/>
                <a:gd name="T47" fmla="*/ 470 h 896"/>
                <a:gd name="T48" fmla="*/ 104 w 897"/>
                <a:gd name="T49" fmla="*/ 433 h 896"/>
                <a:gd name="T50" fmla="*/ 141 w 897"/>
                <a:gd name="T51" fmla="*/ 402 h 896"/>
                <a:gd name="T52" fmla="*/ 185 w 897"/>
                <a:gd name="T53" fmla="*/ 378 h 896"/>
                <a:gd name="T54" fmla="*/ 232 w 897"/>
                <a:gd name="T55" fmla="*/ 364 h 896"/>
                <a:gd name="T56" fmla="*/ 284 w 897"/>
                <a:gd name="T57" fmla="*/ 358 h 896"/>
                <a:gd name="T58" fmla="*/ 354 w 897"/>
                <a:gd name="T59" fmla="*/ 366 h 896"/>
                <a:gd name="T60" fmla="*/ 411 w 897"/>
                <a:gd name="T61" fmla="*/ 386 h 896"/>
                <a:gd name="T62" fmla="*/ 867 w 897"/>
                <a:gd name="T63" fmla="*/ 122 h 896"/>
                <a:gd name="T64" fmla="*/ 386 w 897"/>
                <a:gd name="T65" fmla="*/ 343 h 896"/>
                <a:gd name="T66" fmla="*/ 320 w 897"/>
                <a:gd name="T67" fmla="*/ 330 h 896"/>
                <a:gd name="T68" fmla="*/ 255 w 897"/>
                <a:gd name="T69" fmla="*/ 329 h 896"/>
                <a:gd name="T70" fmla="*/ 199 w 897"/>
                <a:gd name="T71" fmla="*/ 341 h 896"/>
                <a:gd name="T72" fmla="*/ 149 w 897"/>
                <a:gd name="T73" fmla="*/ 362 h 896"/>
                <a:gd name="T74" fmla="*/ 103 w 897"/>
                <a:gd name="T75" fmla="*/ 393 h 896"/>
                <a:gd name="T76" fmla="*/ 64 w 897"/>
                <a:gd name="T77" fmla="*/ 432 h 896"/>
                <a:gd name="T78" fmla="*/ 35 w 897"/>
                <a:gd name="T79" fmla="*/ 477 h 896"/>
                <a:gd name="T80" fmla="*/ 13 w 897"/>
                <a:gd name="T81" fmla="*/ 528 h 896"/>
                <a:gd name="T82" fmla="*/ 1 w 897"/>
                <a:gd name="T83" fmla="*/ 583 h 896"/>
                <a:gd name="T84" fmla="*/ 1 w 897"/>
                <a:gd name="T85" fmla="*/ 642 h 896"/>
                <a:gd name="T86" fmla="*/ 13 w 897"/>
                <a:gd name="T87" fmla="*/ 696 h 896"/>
                <a:gd name="T88" fmla="*/ 35 w 897"/>
                <a:gd name="T89" fmla="*/ 747 h 896"/>
                <a:gd name="T90" fmla="*/ 64 w 897"/>
                <a:gd name="T91" fmla="*/ 792 h 896"/>
                <a:gd name="T92" fmla="*/ 103 w 897"/>
                <a:gd name="T93" fmla="*/ 831 h 896"/>
                <a:gd name="T94" fmla="*/ 149 w 897"/>
                <a:gd name="T95" fmla="*/ 862 h 896"/>
                <a:gd name="T96" fmla="*/ 199 w 897"/>
                <a:gd name="T97" fmla="*/ 883 h 896"/>
                <a:gd name="T98" fmla="*/ 255 w 897"/>
                <a:gd name="T99" fmla="*/ 895 h 896"/>
                <a:gd name="T100" fmla="*/ 313 w 897"/>
                <a:gd name="T101" fmla="*/ 895 h 896"/>
                <a:gd name="T102" fmla="*/ 368 w 897"/>
                <a:gd name="T103" fmla="*/ 883 h 896"/>
                <a:gd name="T104" fmla="*/ 419 w 897"/>
                <a:gd name="T105" fmla="*/ 862 h 896"/>
                <a:gd name="T106" fmla="*/ 465 w 897"/>
                <a:gd name="T107" fmla="*/ 831 h 896"/>
                <a:gd name="T108" fmla="*/ 503 w 897"/>
                <a:gd name="T109" fmla="*/ 792 h 896"/>
                <a:gd name="T110" fmla="*/ 533 w 897"/>
                <a:gd name="T111" fmla="*/ 747 h 896"/>
                <a:gd name="T112" fmla="*/ 555 w 897"/>
                <a:gd name="T113" fmla="*/ 696 h 896"/>
                <a:gd name="T114" fmla="*/ 566 w 897"/>
                <a:gd name="T115" fmla="*/ 642 h 896"/>
                <a:gd name="T116" fmla="*/ 566 w 897"/>
                <a:gd name="T117" fmla="*/ 583 h 896"/>
                <a:gd name="T118" fmla="*/ 552 w 897"/>
                <a:gd name="T119" fmla="*/ 525 h 896"/>
                <a:gd name="T120" fmla="*/ 717 w 897"/>
                <a:gd name="T121" fmla="*/ 388 h 896"/>
                <a:gd name="T122" fmla="*/ 792 w 897"/>
                <a:gd name="T123" fmla="*/ 245 h 896"/>
                <a:gd name="T124" fmla="*/ 897 w 897"/>
                <a:gd name="T125" fmla="*/ 133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97" h="896">
                  <a:moveTo>
                    <a:pt x="867" y="122"/>
                  </a:moveTo>
                  <a:lnTo>
                    <a:pt x="837" y="158"/>
                  </a:lnTo>
                  <a:lnTo>
                    <a:pt x="837" y="208"/>
                  </a:lnTo>
                  <a:lnTo>
                    <a:pt x="785" y="208"/>
                  </a:lnTo>
                  <a:lnTo>
                    <a:pt x="762" y="232"/>
                  </a:lnTo>
                  <a:lnTo>
                    <a:pt x="762" y="283"/>
                  </a:lnTo>
                  <a:lnTo>
                    <a:pt x="711" y="283"/>
                  </a:lnTo>
                  <a:lnTo>
                    <a:pt x="687" y="307"/>
                  </a:lnTo>
                  <a:lnTo>
                    <a:pt x="687" y="358"/>
                  </a:lnTo>
                  <a:lnTo>
                    <a:pt x="637" y="358"/>
                  </a:lnTo>
                  <a:lnTo>
                    <a:pt x="505" y="490"/>
                  </a:lnTo>
                  <a:lnTo>
                    <a:pt x="509" y="499"/>
                  </a:lnTo>
                  <a:lnTo>
                    <a:pt x="516" y="513"/>
                  </a:lnTo>
                  <a:lnTo>
                    <a:pt x="522" y="527"/>
                  </a:lnTo>
                  <a:lnTo>
                    <a:pt x="527" y="542"/>
                  </a:lnTo>
                  <a:lnTo>
                    <a:pt x="531" y="556"/>
                  </a:lnTo>
                  <a:lnTo>
                    <a:pt x="534" y="570"/>
                  </a:lnTo>
                  <a:lnTo>
                    <a:pt x="536" y="584"/>
                  </a:lnTo>
                  <a:lnTo>
                    <a:pt x="537" y="598"/>
                  </a:lnTo>
                  <a:lnTo>
                    <a:pt x="538" y="613"/>
                  </a:lnTo>
                  <a:lnTo>
                    <a:pt x="537" y="625"/>
                  </a:lnTo>
                  <a:lnTo>
                    <a:pt x="536" y="638"/>
                  </a:lnTo>
                  <a:lnTo>
                    <a:pt x="535" y="651"/>
                  </a:lnTo>
                  <a:lnTo>
                    <a:pt x="533" y="663"/>
                  </a:lnTo>
                  <a:lnTo>
                    <a:pt x="530" y="676"/>
                  </a:lnTo>
                  <a:lnTo>
                    <a:pt x="527" y="687"/>
                  </a:lnTo>
                  <a:lnTo>
                    <a:pt x="522" y="699"/>
                  </a:lnTo>
                  <a:lnTo>
                    <a:pt x="518" y="711"/>
                  </a:lnTo>
                  <a:lnTo>
                    <a:pt x="513" y="722"/>
                  </a:lnTo>
                  <a:lnTo>
                    <a:pt x="507" y="733"/>
                  </a:lnTo>
                  <a:lnTo>
                    <a:pt x="501" y="744"/>
                  </a:lnTo>
                  <a:lnTo>
                    <a:pt x="494" y="754"/>
                  </a:lnTo>
                  <a:lnTo>
                    <a:pt x="487" y="764"/>
                  </a:lnTo>
                  <a:lnTo>
                    <a:pt x="479" y="774"/>
                  </a:lnTo>
                  <a:lnTo>
                    <a:pt x="472" y="783"/>
                  </a:lnTo>
                  <a:lnTo>
                    <a:pt x="463" y="791"/>
                  </a:lnTo>
                  <a:lnTo>
                    <a:pt x="455" y="800"/>
                  </a:lnTo>
                  <a:lnTo>
                    <a:pt x="445" y="808"/>
                  </a:lnTo>
                  <a:lnTo>
                    <a:pt x="436" y="816"/>
                  </a:lnTo>
                  <a:lnTo>
                    <a:pt x="426" y="822"/>
                  </a:lnTo>
                  <a:lnTo>
                    <a:pt x="415" y="830"/>
                  </a:lnTo>
                  <a:lnTo>
                    <a:pt x="405" y="835"/>
                  </a:lnTo>
                  <a:lnTo>
                    <a:pt x="394" y="841"/>
                  </a:lnTo>
                  <a:lnTo>
                    <a:pt x="382" y="846"/>
                  </a:lnTo>
                  <a:lnTo>
                    <a:pt x="371" y="851"/>
                  </a:lnTo>
                  <a:lnTo>
                    <a:pt x="360" y="854"/>
                  </a:lnTo>
                  <a:lnTo>
                    <a:pt x="347" y="859"/>
                  </a:lnTo>
                  <a:lnTo>
                    <a:pt x="335" y="861"/>
                  </a:lnTo>
                  <a:lnTo>
                    <a:pt x="322" y="863"/>
                  </a:lnTo>
                  <a:lnTo>
                    <a:pt x="309" y="865"/>
                  </a:lnTo>
                  <a:lnTo>
                    <a:pt x="297" y="866"/>
                  </a:lnTo>
                  <a:lnTo>
                    <a:pt x="284" y="866"/>
                  </a:lnTo>
                  <a:lnTo>
                    <a:pt x="271" y="866"/>
                  </a:lnTo>
                  <a:lnTo>
                    <a:pt x="258" y="865"/>
                  </a:lnTo>
                  <a:lnTo>
                    <a:pt x="245" y="863"/>
                  </a:lnTo>
                  <a:lnTo>
                    <a:pt x="232" y="861"/>
                  </a:lnTo>
                  <a:lnTo>
                    <a:pt x="221" y="859"/>
                  </a:lnTo>
                  <a:lnTo>
                    <a:pt x="208" y="854"/>
                  </a:lnTo>
                  <a:lnTo>
                    <a:pt x="196" y="851"/>
                  </a:lnTo>
                  <a:lnTo>
                    <a:pt x="185" y="846"/>
                  </a:lnTo>
                  <a:lnTo>
                    <a:pt x="174" y="841"/>
                  </a:lnTo>
                  <a:lnTo>
                    <a:pt x="163" y="835"/>
                  </a:lnTo>
                  <a:lnTo>
                    <a:pt x="152" y="830"/>
                  </a:lnTo>
                  <a:lnTo>
                    <a:pt x="141" y="822"/>
                  </a:lnTo>
                  <a:lnTo>
                    <a:pt x="132" y="816"/>
                  </a:lnTo>
                  <a:lnTo>
                    <a:pt x="122" y="808"/>
                  </a:lnTo>
                  <a:lnTo>
                    <a:pt x="113" y="800"/>
                  </a:lnTo>
                  <a:lnTo>
                    <a:pt x="104" y="791"/>
                  </a:lnTo>
                  <a:lnTo>
                    <a:pt x="95" y="783"/>
                  </a:lnTo>
                  <a:lnTo>
                    <a:pt x="88" y="774"/>
                  </a:lnTo>
                  <a:lnTo>
                    <a:pt x="81" y="764"/>
                  </a:lnTo>
                  <a:lnTo>
                    <a:pt x="73" y="754"/>
                  </a:lnTo>
                  <a:lnTo>
                    <a:pt x="67" y="744"/>
                  </a:lnTo>
                  <a:lnTo>
                    <a:pt x="60" y="733"/>
                  </a:lnTo>
                  <a:lnTo>
                    <a:pt x="55" y="722"/>
                  </a:lnTo>
                  <a:lnTo>
                    <a:pt x="49" y="711"/>
                  </a:lnTo>
                  <a:lnTo>
                    <a:pt x="45" y="699"/>
                  </a:lnTo>
                  <a:lnTo>
                    <a:pt x="41" y="687"/>
                  </a:lnTo>
                  <a:lnTo>
                    <a:pt x="38" y="676"/>
                  </a:lnTo>
                  <a:lnTo>
                    <a:pt x="35" y="663"/>
                  </a:lnTo>
                  <a:lnTo>
                    <a:pt x="32" y="651"/>
                  </a:lnTo>
                  <a:lnTo>
                    <a:pt x="31" y="638"/>
                  </a:lnTo>
                  <a:lnTo>
                    <a:pt x="30" y="625"/>
                  </a:lnTo>
                  <a:lnTo>
                    <a:pt x="30" y="613"/>
                  </a:lnTo>
                  <a:lnTo>
                    <a:pt x="30" y="599"/>
                  </a:lnTo>
                  <a:lnTo>
                    <a:pt x="31" y="586"/>
                  </a:lnTo>
                  <a:lnTo>
                    <a:pt x="32" y="573"/>
                  </a:lnTo>
                  <a:lnTo>
                    <a:pt x="35" y="561"/>
                  </a:lnTo>
                  <a:lnTo>
                    <a:pt x="38" y="548"/>
                  </a:lnTo>
                  <a:lnTo>
                    <a:pt x="41" y="537"/>
                  </a:lnTo>
                  <a:lnTo>
                    <a:pt x="45" y="525"/>
                  </a:lnTo>
                  <a:lnTo>
                    <a:pt x="49" y="513"/>
                  </a:lnTo>
                  <a:lnTo>
                    <a:pt x="55" y="503"/>
                  </a:lnTo>
                  <a:lnTo>
                    <a:pt x="60" y="491"/>
                  </a:lnTo>
                  <a:lnTo>
                    <a:pt x="67" y="480"/>
                  </a:lnTo>
                  <a:lnTo>
                    <a:pt x="73" y="470"/>
                  </a:lnTo>
                  <a:lnTo>
                    <a:pt x="81" y="460"/>
                  </a:lnTo>
                  <a:lnTo>
                    <a:pt x="88" y="450"/>
                  </a:lnTo>
                  <a:lnTo>
                    <a:pt x="95" y="442"/>
                  </a:lnTo>
                  <a:lnTo>
                    <a:pt x="104" y="433"/>
                  </a:lnTo>
                  <a:lnTo>
                    <a:pt x="113" y="424"/>
                  </a:lnTo>
                  <a:lnTo>
                    <a:pt x="122" y="416"/>
                  </a:lnTo>
                  <a:lnTo>
                    <a:pt x="132" y="408"/>
                  </a:lnTo>
                  <a:lnTo>
                    <a:pt x="141" y="402"/>
                  </a:lnTo>
                  <a:lnTo>
                    <a:pt x="152" y="395"/>
                  </a:lnTo>
                  <a:lnTo>
                    <a:pt x="163" y="389"/>
                  </a:lnTo>
                  <a:lnTo>
                    <a:pt x="174" y="383"/>
                  </a:lnTo>
                  <a:lnTo>
                    <a:pt x="185" y="378"/>
                  </a:lnTo>
                  <a:lnTo>
                    <a:pt x="196" y="373"/>
                  </a:lnTo>
                  <a:lnTo>
                    <a:pt x="208" y="370"/>
                  </a:lnTo>
                  <a:lnTo>
                    <a:pt x="221" y="367"/>
                  </a:lnTo>
                  <a:lnTo>
                    <a:pt x="232" y="364"/>
                  </a:lnTo>
                  <a:lnTo>
                    <a:pt x="245" y="361"/>
                  </a:lnTo>
                  <a:lnTo>
                    <a:pt x="258" y="359"/>
                  </a:lnTo>
                  <a:lnTo>
                    <a:pt x="271" y="358"/>
                  </a:lnTo>
                  <a:lnTo>
                    <a:pt x="284" y="358"/>
                  </a:lnTo>
                  <a:lnTo>
                    <a:pt x="302" y="358"/>
                  </a:lnTo>
                  <a:lnTo>
                    <a:pt x="320" y="360"/>
                  </a:lnTo>
                  <a:lnTo>
                    <a:pt x="337" y="362"/>
                  </a:lnTo>
                  <a:lnTo>
                    <a:pt x="354" y="366"/>
                  </a:lnTo>
                  <a:lnTo>
                    <a:pt x="369" y="369"/>
                  </a:lnTo>
                  <a:lnTo>
                    <a:pt x="384" y="374"/>
                  </a:lnTo>
                  <a:lnTo>
                    <a:pt x="398" y="380"/>
                  </a:lnTo>
                  <a:lnTo>
                    <a:pt x="411" y="386"/>
                  </a:lnTo>
                  <a:lnTo>
                    <a:pt x="421" y="391"/>
                  </a:lnTo>
                  <a:lnTo>
                    <a:pt x="783" y="30"/>
                  </a:lnTo>
                  <a:lnTo>
                    <a:pt x="867" y="30"/>
                  </a:lnTo>
                  <a:lnTo>
                    <a:pt x="867" y="122"/>
                  </a:lnTo>
                  <a:close/>
                  <a:moveTo>
                    <a:pt x="770" y="0"/>
                  </a:moveTo>
                  <a:lnTo>
                    <a:pt x="415" y="355"/>
                  </a:lnTo>
                  <a:lnTo>
                    <a:pt x="401" y="349"/>
                  </a:lnTo>
                  <a:lnTo>
                    <a:pt x="386" y="343"/>
                  </a:lnTo>
                  <a:lnTo>
                    <a:pt x="371" y="339"/>
                  </a:lnTo>
                  <a:lnTo>
                    <a:pt x="355" y="335"/>
                  </a:lnTo>
                  <a:lnTo>
                    <a:pt x="338" y="332"/>
                  </a:lnTo>
                  <a:lnTo>
                    <a:pt x="320" y="330"/>
                  </a:lnTo>
                  <a:lnTo>
                    <a:pt x="303" y="328"/>
                  </a:lnTo>
                  <a:lnTo>
                    <a:pt x="284" y="328"/>
                  </a:lnTo>
                  <a:lnTo>
                    <a:pt x="269" y="328"/>
                  </a:lnTo>
                  <a:lnTo>
                    <a:pt x="255" y="329"/>
                  </a:lnTo>
                  <a:lnTo>
                    <a:pt x="241" y="331"/>
                  </a:lnTo>
                  <a:lnTo>
                    <a:pt x="227" y="334"/>
                  </a:lnTo>
                  <a:lnTo>
                    <a:pt x="213" y="337"/>
                  </a:lnTo>
                  <a:lnTo>
                    <a:pt x="199" y="341"/>
                  </a:lnTo>
                  <a:lnTo>
                    <a:pt x="186" y="345"/>
                  </a:lnTo>
                  <a:lnTo>
                    <a:pt x="174" y="351"/>
                  </a:lnTo>
                  <a:lnTo>
                    <a:pt x="161" y="356"/>
                  </a:lnTo>
                  <a:lnTo>
                    <a:pt x="149" y="362"/>
                  </a:lnTo>
                  <a:lnTo>
                    <a:pt x="136" y="370"/>
                  </a:lnTo>
                  <a:lnTo>
                    <a:pt x="125" y="376"/>
                  </a:lnTo>
                  <a:lnTo>
                    <a:pt x="114" y="385"/>
                  </a:lnTo>
                  <a:lnTo>
                    <a:pt x="103" y="393"/>
                  </a:lnTo>
                  <a:lnTo>
                    <a:pt x="93" y="402"/>
                  </a:lnTo>
                  <a:lnTo>
                    <a:pt x="83" y="412"/>
                  </a:lnTo>
                  <a:lnTo>
                    <a:pt x="74" y="421"/>
                  </a:lnTo>
                  <a:lnTo>
                    <a:pt x="64" y="432"/>
                  </a:lnTo>
                  <a:lnTo>
                    <a:pt x="56" y="443"/>
                  </a:lnTo>
                  <a:lnTo>
                    <a:pt x="48" y="453"/>
                  </a:lnTo>
                  <a:lnTo>
                    <a:pt x="41" y="465"/>
                  </a:lnTo>
                  <a:lnTo>
                    <a:pt x="35" y="477"/>
                  </a:lnTo>
                  <a:lnTo>
                    <a:pt x="28" y="490"/>
                  </a:lnTo>
                  <a:lnTo>
                    <a:pt x="22" y="501"/>
                  </a:lnTo>
                  <a:lnTo>
                    <a:pt x="17" y="514"/>
                  </a:lnTo>
                  <a:lnTo>
                    <a:pt x="13" y="528"/>
                  </a:lnTo>
                  <a:lnTo>
                    <a:pt x="9" y="541"/>
                  </a:lnTo>
                  <a:lnTo>
                    <a:pt x="6" y="555"/>
                  </a:lnTo>
                  <a:lnTo>
                    <a:pt x="3" y="569"/>
                  </a:lnTo>
                  <a:lnTo>
                    <a:pt x="1" y="583"/>
                  </a:lnTo>
                  <a:lnTo>
                    <a:pt x="0" y="598"/>
                  </a:lnTo>
                  <a:lnTo>
                    <a:pt x="0" y="613"/>
                  </a:lnTo>
                  <a:lnTo>
                    <a:pt x="0" y="627"/>
                  </a:lnTo>
                  <a:lnTo>
                    <a:pt x="1" y="642"/>
                  </a:lnTo>
                  <a:lnTo>
                    <a:pt x="3" y="655"/>
                  </a:lnTo>
                  <a:lnTo>
                    <a:pt x="6" y="669"/>
                  </a:lnTo>
                  <a:lnTo>
                    <a:pt x="9" y="683"/>
                  </a:lnTo>
                  <a:lnTo>
                    <a:pt x="13" y="696"/>
                  </a:lnTo>
                  <a:lnTo>
                    <a:pt x="17" y="710"/>
                  </a:lnTo>
                  <a:lnTo>
                    <a:pt x="22" y="723"/>
                  </a:lnTo>
                  <a:lnTo>
                    <a:pt x="28" y="735"/>
                  </a:lnTo>
                  <a:lnTo>
                    <a:pt x="35" y="747"/>
                  </a:lnTo>
                  <a:lnTo>
                    <a:pt x="41" y="759"/>
                  </a:lnTo>
                  <a:lnTo>
                    <a:pt x="48" y="771"/>
                  </a:lnTo>
                  <a:lnTo>
                    <a:pt x="56" y="782"/>
                  </a:lnTo>
                  <a:lnTo>
                    <a:pt x="64" y="792"/>
                  </a:lnTo>
                  <a:lnTo>
                    <a:pt x="74" y="803"/>
                  </a:lnTo>
                  <a:lnTo>
                    <a:pt x="83" y="813"/>
                  </a:lnTo>
                  <a:lnTo>
                    <a:pt x="93" y="822"/>
                  </a:lnTo>
                  <a:lnTo>
                    <a:pt x="103" y="831"/>
                  </a:lnTo>
                  <a:lnTo>
                    <a:pt x="114" y="839"/>
                  </a:lnTo>
                  <a:lnTo>
                    <a:pt x="125" y="848"/>
                  </a:lnTo>
                  <a:lnTo>
                    <a:pt x="136" y="854"/>
                  </a:lnTo>
                  <a:lnTo>
                    <a:pt x="149" y="862"/>
                  </a:lnTo>
                  <a:lnTo>
                    <a:pt x="161" y="868"/>
                  </a:lnTo>
                  <a:lnTo>
                    <a:pt x="174" y="874"/>
                  </a:lnTo>
                  <a:lnTo>
                    <a:pt x="186" y="879"/>
                  </a:lnTo>
                  <a:lnTo>
                    <a:pt x="199" y="883"/>
                  </a:lnTo>
                  <a:lnTo>
                    <a:pt x="213" y="887"/>
                  </a:lnTo>
                  <a:lnTo>
                    <a:pt x="227" y="891"/>
                  </a:lnTo>
                  <a:lnTo>
                    <a:pt x="241" y="893"/>
                  </a:lnTo>
                  <a:lnTo>
                    <a:pt x="255" y="895"/>
                  </a:lnTo>
                  <a:lnTo>
                    <a:pt x="269" y="896"/>
                  </a:lnTo>
                  <a:lnTo>
                    <a:pt x="284" y="896"/>
                  </a:lnTo>
                  <a:lnTo>
                    <a:pt x="299" y="896"/>
                  </a:lnTo>
                  <a:lnTo>
                    <a:pt x="313" y="895"/>
                  </a:lnTo>
                  <a:lnTo>
                    <a:pt x="327" y="893"/>
                  </a:lnTo>
                  <a:lnTo>
                    <a:pt x="340" y="891"/>
                  </a:lnTo>
                  <a:lnTo>
                    <a:pt x="354" y="887"/>
                  </a:lnTo>
                  <a:lnTo>
                    <a:pt x="368" y="883"/>
                  </a:lnTo>
                  <a:lnTo>
                    <a:pt x="381" y="879"/>
                  </a:lnTo>
                  <a:lnTo>
                    <a:pt x="394" y="874"/>
                  </a:lnTo>
                  <a:lnTo>
                    <a:pt x="407" y="868"/>
                  </a:lnTo>
                  <a:lnTo>
                    <a:pt x="419" y="862"/>
                  </a:lnTo>
                  <a:lnTo>
                    <a:pt x="431" y="854"/>
                  </a:lnTo>
                  <a:lnTo>
                    <a:pt x="442" y="848"/>
                  </a:lnTo>
                  <a:lnTo>
                    <a:pt x="454" y="839"/>
                  </a:lnTo>
                  <a:lnTo>
                    <a:pt x="465" y="831"/>
                  </a:lnTo>
                  <a:lnTo>
                    <a:pt x="474" y="822"/>
                  </a:lnTo>
                  <a:lnTo>
                    <a:pt x="485" y="813"/>
                  </a:lnTo>
                  <a:lnTo>
                    <a:pt x="493" y="803"/>
                  </a:lnTo>
                  <a:lnTo>
                    <a:pt x="503" y="792"/>
                  </a:lnTo>
                  <a:lnTo>
                    <a:pt x="512" y="782"/>
                  </a:lnTo>
                  <a:lnTo>
                    <a:pt x="519" y="771"/>
                  </a:lnTo>
                  <a:lnTo>
                    <a:pt x="527" y="759"/>
                  </a:lnTo>
                  <a:lnTo>
                    <a:pt x="533" y="747"/>
                  </a:lnTo>
                  <a:lnTo>
                    <a:pt x="539" y="735"/>
                  </a:lnTo>
                  <a:lnTo>
                    <a:pt x="546" y="723"/>
                  </a:lnTo>
                  <a:lnTo>
                    <a:pt x="550" y="710"/>
                  </a:lnTo>
                  <a:lnTo>
                    <a:pt x="555" y="696"/>
                  </a:lnTo>
                  <a:lnTo>
                    <a:pt x="559" y="683"/>
                  </a:lnTo>
                  <a:lnTo>
                    <a:pt x="562" y="669"/>
                  </a:lnTo>
                  <a:lnTo>
                    <a:pt x="564" y="655"/>
                  </a:lnTo>
                  <a:lnTo>
                    <a:pt x="566" y="642"/>
                  </a:lnTo>
                  <a:lnTo>
                    <a:pt x="567" y="627"/>
                  </a:lnTo>
                  <a:lnTo>
                    <a:pt x="567" y="613"/>
                  </a:lnTo>
                  <a:lnTo>
                    <a:pt x="567" y="598"/>
                  </a:lnTo>
                  <a:lnTo>
                    <a:pt x="566" y="583"/>
                  </a:lnTo>
                  <a:lnTo>
                    <a:pt x="564" y="569"/>
                  </a:lnTo>
                  <a:lnTo>
                    <a:pt x="561" y="554"/>
                  </a:lnTo>
                  <a:lnTo>
                    <a:pt x="558" y="539"/>
                  </a:lnTo>
                  <a:lnTo>
                    <a:pt x="552" y="525"/>
                  </a:lnTo>
                  <a:lnTo>
                    <a:pt x="547" y="510"/>
                  </a:lnTo>
                  <a:lnTo>
                    <a:pt x="540" y="496"/>
                  </a:lnTo>
                  <a:lnTo>
                    <a:pt x="649" y="388"/>
                  </a:lnTo>
                  <a:lnTo>
                    <a:pt x="717" y="388"/>
                  </a:lnTo>
                  <a:lnTo>
                    <a:pt x="717" y="320"/>
                  </a:lnTo>
                  <a:lnTo>
                    <a:pt x="723" y="313"/>
                  </a:lnTo>
                  <a:lnTo>
                    <a:pt x="792" y="313"/>
                  </a:lnTo>
                  <a:lnTo>
                    <a:pt x="792" y="245"/>
                  </a:lnTo>
                  <a:lnTo>
                    <a:pt x="798" y="238"/>
                  </a:lnTo>
                  <a:lnTo>
                    <a:pt x="867" y="238"/>
                  </a:lnTo>
                  <a:lnTo>
                    <a:pt x="867" y="169"/>
                  </a:lnTo>
                  <a:lnTo>
                    <a:pt x="897" y="133"/>
                  </a:lnTo>
                  <a:lnTo>
                    <a:pt x="897" y="0"/>
                  </a:lnTo>
                  <a:lnTo>
                    <a:pt x="77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ADD144E7-89A4-47D0-8741-F697BD99F8D9}"/>
              </a:ext>
            </a:extLst>
          </p:cNvPr>
          <p:cNvGrpSpPr/>
          <p:nvPr/>
        </p:nvGrpSpPr>
        <p:grpSpPr>
          <a:xfrm flipH="1">
            <a:off x="1225426" y="2100872"/>
            <a:ext cx="2308748" cy="4088795"/>
            <a:chOff x="8375650" y="617538"/>
            <a:chExt cx="3175000" cy="5622925"/>
          </a:xfrm>
        </p:grpSpPr>
        <p:sp>
          <p:nvSpPr>
            <p:cNvPr id="38" name="Freeform 5">
              <a:extLst>
                <a:ext uri="{FF2B5EF4-FFF2-40B4-BE49-F238E27FC236}">
                  <a16:creationId xmlns:a16="http://schemas.microsoft.com/office/drawing/2014/main" id="{EBCA8FE0-8EDA-4301-9DFA-A760776CD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463" y="974726"/>
              <a:ext cx="854075" cy="492125"/>
            </a:xfrm>
            <a:custGeom>
              <a:avLst/>
              <a:gdLst>
                <a:gd name="T0" fmla="*/ 119 w 133"/>
                <a:gd name="T1" fmla="*/ 0 h 77"/>
                <a:gd name="T2" fmla="*/ 132 w 133"/>
                <a:gd name="T3" fmla="*/ 45 h 77"/>
                <a:gd name="T4" fmla="*/ 133 w 133"/>
                <a:gd name="T5" fmla="*/ 51 h 77"/>
                <a:gd name="T6" fmla="*/ 121 w 133"/>
                <a:gd name="T7" fmla="*/ 64 h 77"/>
                <a:gd name="T8" fmla="*/ 102 w 133"/>
                <a:gd name="T9" fmla="*/ 61 h 77"/>
                <a:gd name="T10" fmla="*/ 87 w 133"/>
                <a:gd name="T11" fmla="*/ 72 h 77"/>
                <a:gd name="T12" fmla="*/ 0 w 133"/>
                <a:gd name="T13" fmla="*/ 61 h 77"/>
                <a:gd name="T14" fmla="*/ 28 w 133"/>
                <a:gd name="T15" fmla="*/ 8 h 77"/>
                <a:gd name="T16" fmla="*/ 96 w 133"/>
                <a:gd name="T17" fmla="*/ 11 h 77"/>
                <a:gd name="T18" fmla="*/ 108 w 133"/>
                <a:gd name="T19" fmla="*/ 10 h 77"/>
                <a:gd name="T20" fmla="*/ 116 w 133"/>
                <a:gd name="T21" fmla="*/ 1 h 77"/>
                <a:gd name="T22" fmla="*/ 119 w 133"/>
                <a:gd name="T23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3" h="77">
                  <a:moveTo>
                    <a:pt x="119" y="0"/>
                  </a:moveTo>
                  <a:cubicBezTo>
                    <a:pt x="123" y="15"/>
                    <a:pt x="128" y="30"/>
                    <a:pt x="132" y="45"/>
                  </a:cubicBezTo>
                  <a:cubicBezTo>
                    <a:pt x="133" y="47"/>
                    <a:pt x="133" y="49"/>
                    <a:pt x="133" y="51"/>
                  </a:cubicBezTo>
                  <a:cubicBezTo>
                    <a:pt x="133" y="57"/>
                    <a:pt x="127" y="62"/>
                    <a:pt x="121" y="64"/>
                  </a:cubicBezTo>
                  <a:cubicBezTo>
                    <a:pt x="115" y="65"/>
                    <a:pt x="109" y="63"/>
                    <a:pt x="102" y="61"/>
                  </a:cubicBezTo>
                  <a:cubicBezTo>
                    <a:pt x="101" y="68"/>
                    <a:pt x="93" y="71"/>
                    <a:pt x="87" y="72"/>
                  </a:cubicBezTo>
                  <a:cubicBezTo>
                    <a:pt x="58" y="77"/>
                    <a:pt x="27" y="73"/>
                    <a:pt x="0" y="61"/>
                  </a:cubicBezTo>
                  <a:cubicBezTo>
                    <a:pt x="12" y="45"/>
                    <a:pt x="21" y="27"/>
                    <a:pt x="28" y="8"/>
                  </a:cubicBezTo>
                  <a:cubicBezTo>
                    <a:pt x="51" y="9"/>
                    <a:pt x="74" y="10"/>
                    <a:pt x="96" y="11"/>
                  </a:cubicBezTo>
                  <a:cubicBezTo>
                    <a:pt x="100" y="11"/>
                    <a:pt x="104" y="11"/>
                    <a:pt x="108" y="10"/>
                  </a:cubicBezTo>
                  <a:cubicBezTo>
                    <a:pt x="112" y="8"/>
                    <a:pt x="115" y="5"/>
                    <a:pt x="116" y="1"/>
                  </a:cubicBezTo>
                  <a:cubicBezTo>
                    <a:pt x="119" y="0"/>
                    <a:pt x="119" y="0"/>
                    <a:pt x="119" y="0"/>
                  </a:cubicBezTo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5E4E18BC-ECCE-46B6-A329-A9786A298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3625" y="1952626"/>
              <a:ext cx="557213" cy="466725"/>
            </a:xfrm>
            <a:custGeom>
              <a:avLst/>
              <a:gdLst>
                <a:gd name="T0" fmla="*/ 87 w 87"/>
                <a:gd name="T1" fmla="*/ 44 h 73"/>
                <a:gd name="T2" fmla="*/ 81 w 87"/>
                <a:gd name="T3" fmla="*/ 36 h 73"/>
                <a:gd name="T4" fmla="*/ 69 w 87"/>
                <a:gd name="T5" fmla="*/ 23 h 73"/>
                <a:gd name="T6" fmla="*/ 65 w 87"/>
                <a:gd name="T7" fmla="*/ 16 h 73"/>
                <a:gd name="T8" fmla="*/ 63 w 87"/>
                <a:gd name="T9" fmla="*/ 5 h 73"/>
                <a:gd name="T10" fmla="*/ 57 w 87"/>
                <a:gd name="T11" fmla="*/ 3 h 73"/>
                <a:gd name="T12" fmla="*/ 59 w 87"/>
                <a:gd name="T13" fmla="*/ 24 h 73"/>
                <a:gd name="T14" fmla="*/ 43 w 87"/>
                <a:gd name="T15" fmla="*/ 23 h 73"/>
                <a:gd name="T16" fmla="*/ 18 w 87"/>
                <a:gd name="T17" fmla="*/ 14 h 73"/>
                <a:gd name="T18" fmla="*/ 22 w 87"/>
                <a:gd name="T19" fmla="*/ 22 h 73"/>
                <a:gd name="T20" fmla="*/ 41 w 87"/>
                <a:gd name="T21" fmla="*/ 36 h 73"/>
                <a:gd name="T22" fmla="*/ 12 w 87"/>
                <a:gd name="T23" fmla="*/ 24 h 73"/>
                <a:gd name="T24" fmla="*/ 5 w 87"/>
                <a:gd name="T25" fmla="*/ 24 h 73"/>
                <a:gd name="T26" fmla="*/ 35 w 87"/>
                <a:gd name="T27" fmla="*/ 43 h 73"/>
                <a:gd name="T28" fmla="*/ 33 w 87"/>
                <a:gd name="T29" fmla="*/ 46 h 73"/>
                <a:gd name="T30" fmla="*/ 2 w 87"/>
                <a:gd name="T31" fmla="*/ 37 h 73"/>
                <a:gd name="T32" fmla="*/ 31 w 87"/>
                <a:gd name="T33" fmla="*/ 54 h 73"/>
                <a:gd name="T34" fmla="*/ 21 w 87"/>
                <a:gd name="T35" fmla="*/ 53 h 73"/>
                <a:gd name="T36" fmla="*/ 8 w 87"/>
                <a:gd name="T37" fmla="*/ 51 h 73"/>
                <a:gd name="T38" fmla="*/ 21 w 87"/>
                <a:gd name="T39" fmla="*/ 60 h 73"/>
                <a:gd name="T40" fmla="*/ 80 w 87"/>
                <a:gd name="T41" fmla="*/ 73 h 73"/>
                <a:gd name="T42" fmla="*/ 87 w 87"/>
                <a:gd name="T43" fmla="*/ 43 h 73"/>
                <a:gd name="T44" fmla="*/ 87 w 87"/>
                <a:gd name="T45" fmla="*/ 4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" h="73">
                  <a:moveTo>
                    <a:pt x="87" y="44"/>
                  </a:moveTo>
                  <a:cubicBezTo>
                    <a:pt x="81" y="36"/>
                    <a:pt x="81" y="36"/>
                    <a:pt x="81" y="36"/>
                  </a:cubicBezTo>
                  <a:cubicBezTo>
                    <a:pt x="81" y="36"/>
                    <a:pt x="76" y="32"/>
                    <a:pt x="69" y="23"/>
                  </a:cubicBezTo>
                  <a:cubicBezTo>
                    <a:pt x="67" y="21"/>
                    <a:pt x="66" y="19"/>
                    <a:pt x="65" y="16"/>
                  </a:cubicBezTo>
                  <a:cubicBezTo>
                    <a:pt x="64" y="12"/>
                    <a:pt x="63" y="8"/>
                    <a:pt x="63" y="5"/>
                  </a:cubicBezTo>
                  <a:cubicBezTo>
                    <a:pt x="63" y="2"/>
                    <a:pt x="59" y="0"/>
                    <a:pt x="57" y="3"/>
                  </a:cubicBezTo>
                  <a:cubicBezTo>
                    <a:pt x="55" y="5"/>
                    <a:pt x="55" y="14"/>
                    <a:pt x="59" y="24"/>
                  </a:cubicBezTo>
                  <a:cubicBezTo>
                    <a:pt x="63" y="34"/>
                    <a:pt x="48" y="26"/>
                    <a:pt x="43" y="23"/>
                  </a:cubicBezTo>
                  <a:cubicBezTo>
                    <a:pt x="38" y="20"/>
                    <a:pt x="20" y="13"/>
                    <a:pt x="18" y="14"/>
                  </a:cubicBezTo>
                  <a:cubicBezTo>
                    <a:pt x="15" y="15"/>
                    <a:pt x="16" y="19"/>
                    <a:pt x="22" y="22"/>
                  </a:cubicBezTo>
                  <a:cubicBezTo>
                    <a:pt x="27" y="24"/>
                    <a:pt x="43" y="33"/>
                    <a:pt x="41" y="36"/>
                  </a:cubicBezTo>
                  <a:cubicBezTo>
                    <a:pt x="40" y="39"/>
                    <a:pt x="12" y="24"/>
                    <a:pt x="12" y="24"/>
                  </a:cubicBezTo>
                  <a:cubicBezTo>
                    <a:pt x="12" y="24"/>
                    <a:pt x="7" y="20"/>
                    <a:pt x="5" y="24"/>
                  </a:cubicBezTo>
                  <a:cubicBezTo>
                    <a:pt x="2" y="29"/>
                    <a:pt x="32" y="42"/>
                    <a:pt x="35" y="43"/>
                  </a:cubicBezTo>
                  <a:cubicBezTo>
                    <a:pt x="37" y="44"/>
                    <a:pt x="35" y="47"/>
                    <a:pt x="33" y="46"/>
                  </a:cubicBezTo>
                  <a:cubicBezTo>
                    <a:pt x="31" y="45"/>
                    <a:pt x="6" y="32"/>
                    <a:pt x="2" y="37"/>
                  </a:cubicBezTo>
                  <a:cubicBezTo>
                    <a:pt x="0" y="42"/>
                    <a:pt x="27" y="48"/>
                    <a:pt x="31" y="54"/>
                  </a:cubicBezTo>
                  <a:cubicBezTo>
                    <a:pt x="33" y="57"/>
                    <a:pt x="27" y="55"/>
                    <a:pt x="21" y="53"/>
                  </a:cubicBezTo>
                  <a:cubicBezTo>
                    <a:pt x="15" y="51"/>
                    <a:pt x="9" y="49"/>
                    <a:pt x="8" y="51"/>
                  </a:cubicBezTo>
                  <a:cubicBezTo>
                    <a:pt x="7" y="53"/>
                    <a:pt x="6" y="54"/>
                    <a:pt x="21" y="60"/>
                  </a:cubicBezTo>
                  <a:cubicBezTo>
                    <a:pt x="37" y="65"/>
                    <a:pt x="80" y="73"/>
                    <a:pt x="80" y="73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7" y="44"/>
                    <a:pt x="87" y="44"/>
                    <a:pt x="87" y="44"/>
                  </a:cubicBezTo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7973019E-F8BA-4957-9BFF-3313B3DA3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9700" y="1779588"/>
              <a:ext cx="1379538" cy="1036638"/>
            </a:xfrm>
            <a:custGeom>
              <a:avLst/>
              <a:gdLst>
                <a:gd name="T0" fmla="*/ 157 w 215"/>
                <a:gd name="T1" fmla="*/ 0 h 162"/>
                <a:gd name="T2" fmla="*/ 124 w 215"/>
                <a:gd name="T3" fmla="*/ 73 h 162"/>
                <a:gd name="T4" fmla="*/ 15 w 215"/>
                <a:gd name="T5" fmla="*/ 55 h 162"/>
                <a:gd name="T6" fmla="*/ 0 w 215"/>
                <a:gd name="T7" fmla="*/ 95 h 162"/>
                <a:gd name="T8" fmla="*/ 181 w 215"/>
                <a:gd name="T9" fmla="*/ 98 h 162"/>
                <a:gd name="T10" fmla="*/ 213 w 215"/>
                <a:gd name="T11" fmla="*/ 19 h 162"/>
                <a:gd name="T12" fmla="*/ 157 w 215"/>
                <a:gd name="T13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5" h="162">
                  <a:moveTo>
                    <a:pt x="157" y="0"/>
                  </a:moveTo>
                  <a:cubicBezTo>
                    <a:pt x="157" y="0"/>
                    <a:pt x="132" y="72"/>
                    <a:pt x="124" y="73"/>
                  </a:cubicBezTo>
                  <a:cubicBezTo>
                    <a:pt x="72" y="77"/>
                    <a:pt x="15" y="55"/>
                    <a:pt x="15" y="5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149" y="162"/>
                    <a:pt x="181" y="98"/>
                  </a:cubicBezTo>
                  <a:cubicBezTo>
                    <a:pt x="215" y="30"/>
                    <a:pt x="213" y="19"/>
                    <a:pt x="213" y="19"/>
                  </a:cubicBezTo>
                  <a:cubicBezTo>
                    <a:pt x="157" y="0"/>
                    <a:pt x="157" y="0"/>
                    <a:pt x="157" y="0"/>
                  </a:cubicBezTo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F2F781DE-6376-4ACE-AF33-59A6CF47E4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5225" y="3448051"/>
              <a:ext cx="1482725" cy="2435225"/>
            </a:xfrm>
            <a:custGeom>
              <a:avLst/>
              <a:gdLst>
                <a:gd name="T0" fmla="*/ 0 w 231"/>
                <a:gd name="T1" fmla="*/ 145 h 381"/>
                <a:gd name="T2" fmla="*/ 201 w 231"/>
                <a:gd name="T3" fmla="*/ 381 h 381"/>
                <a:gd name="T4" fmla="*/ 231 w 231"/>
                <a:gd name="T5" fmla="*/ 344 h 381"/>
                <a:gd name="T6" fmla="*/ 85 w 231"/>
                <a:gd name="T7" fmla="*/ 163 h 381"/>
                <a:gd name="T8" fmla="*/ 125 w 231"/>
                <a:gd name="T9" fmla="*/ 20 h 381"/>
                <a:gd name="T10" fmla="*/ 77 w 231"/>
                <a:gd name="T11" fmla="*/ 0 h 381"/>
                <a:gd name="T12" fmla="*/ 0 w 231"/>
                <a:gd name="T13" fmla="*/ 145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1" h="381">
                  <a:moveTo>
                    <a:pt x="0" y="145"/>
                  </a:moveTo>
                  <a:cubicBezTo>
                    <a:pt x="26" y="267"/>
                    <a:pt x="201" y="381"/>
                    <a:pt x="201" y="381"/>
                  </a:cubicBezTo>
                  <a:cubicBezTo>
                    <a:pt x="231" y="344"/>
                    <a:pt x="231" y="344"/>
                    <a:pt x="231" y="344"/>
                  </a:cubicBezTo>
                  <a:cubicBezTo>
                    <a:pt x="231" y="344"/>
                    <a:pt x="91" y="219"/>
                    <a:pt x="85" y="163"/>
                  </a:cubicBezTo>
                  <a:cubicBezTo>
                    <a:pt x="79" y="108"/>
                    <a:pt x="125" y="20"/>
                    <a:pt x="125" y="20"/>
                  </a:cubicBezTo>
                  <a:cubicBezTo>
                    <a:pt x="77" y="0"/>
                    <a:pt x="77" y="0"/>
                    <a:pt x="77" y="0"/>
                  </a:cubicBezTo>
                  <a:lnTo>
                    <a:pt x="0" y="145"/>
                  </a:lnTo>
                  <a:close/>
                </a:path>
              </a:pathLst>
            </a:custGeom>
            <a:solidFill>
              <a:srgbClr val="1F36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2E894D2C-F678-4D70-A552-0DC2CB5D53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7000" y="719138"/>
              <a:ext cx="481013" cy="819150"/>
            </a:xfrm>
            <a:custGeom>
              <a:avLst/>
              <a:gdLst>
                <a:gd name="T0" fmla="*/ 23 w 75"/>
                <a:gd name="T1" fmla="*/ 128 h 128"/>
                <a:gd name="T2" fmla="*/ 22 w 75"/>
                <a:gd name="T3" fmla="*/ 102 h 128"/>
                <a:gd name="T4" fmla="*/ 1 w 75"/>
                <a:gd name="T5" fmla="*/ 80 h 128"/>
                <a:gd name="T6" fmla="*/ 1 w 75"/>
                <a:gd name="T7" fmla="*/ 17 h 128"/>
                <a:gd name="T8" fmla="*/ 36 w 75"/>
                <a:gd name="T9" fmla="*/ 0 h 128"/>
                <a:gd name="T10" fmla="*/ 75 w 75"/>
                <a:gd name="T11" fmla="*/ 29 h 128"/>
                <a:gd name="T12" fmla="*/ 69 w 75"/>
                <a:gd name="T13" fmla="*/ 125 h 128"/>
                <a:gd name="T14" fmla="*/ 23 w 75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128">
                  <a:moveTo>
                    <a:pt x="23" y="128"/>
                  </a:moveTo>
                  <a:cubicBezTo>
                    <a:pt x="24" y="123"/>
                    <a:pt x="22" y="102"/>
                    <a:pt x="22" y="102"/>
                  </a:cubicBezTo>
                  <a:cubicBezTo>
                    <a:pt x="22" y="102"/>
                    <a:pt x="3" y="100"/>
                    <a:pt x="1" y="80"/>
                  </a:cubicBezTo>
                  <a:cubicBezTo>
                    <a:pt x="0" y="61"/>
                    <a:pt x="1" y="17"/>
                    <a:pt x="1" y="17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23" y="128"/>
                    <a:pt x="23" y="128"/>
                    <a:pt x="23" y="128"/>
                  </a:cubicBezTo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250431D2-5F49-4CF1-A91A-D3C69CB5EE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9850" y="617538"/>
              <a:ext cx="717550" cy="409575"/>
            </a:xfrm>
            <a:custGeom>
              <a:avLst/>
              <a:gdLst>
                <a:gd name="T0" fmla="*/ 81 w 112"/>
                <a:gd name="T1" fmla="*/ 60 h 64"/>
                <a:gd name="T2" fmla="*/ 44 w 112"/>
                <a:gd name="T3" fmla="*/ 29 h 64"/>
                <a:gd name="T4" fmla="*/ 10 w 112"/>
                <a:gd name="T5" fmla="*/ 60 h 64"/>
                <a:gd name="T6" fmla="*/ 19 w 112"/>
                <a:gd name="T7" fmla="*/ 19 h 64"/>
                <a:gd name="T8" fmla="*/ 58 w 112"/>
                <a:gd name="T9" fmla="*/ 4 h 64"/>
                <a:gd name="T10" fmla="*/ 110 w 112"/>
                <a:gd name="T11" fmla="*/ 51 h 64"/>
                <a:gd name="T12" fmla="*/ 112 w 112"/>
                <a:gd name="T13" fmla="*/ 64 h 64"/>
                <a:gd name="T14" fmla="*/ 81 w 112"/>
                <a:gd name="T15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" h="64">
                  <a:moveTo>
                    <a:pt x="81" y="60"/>
                  </a:moveTo>
                  <a:cubicBezTo>
                    <a:pt x="81" y="60"/>
                    <a:pt x="50" y="57"/>
                    <a:pt x="44" y="29"/>
                  </a:cubicBezTo>
                  <a:cubicBezTo>
                    <a:pt x="10" y="60"/>
                    <a:pt x="10" y="60"/>
                    <a:pt x="10" y="60"/>
                  </a:cubicBezTo>
                  <a:cubicBezTo>
                    <a:pt x="10" y="60"/>
                    <a:pt x="0" y="39"/>
                    <a:pt x="19" y="19"/>
                  </a:cubicBezTo>
                  <a:cubicBezTo>
                    <a:pt x="38" y="0"/>
                    <a:pt x="51" y="4"/>
                    <a:pt x="58" y="4"/>
                  </a:cubicBezTo>
                  <a:cubicBezTo>
                    <a:pt x="65" y="4"/>
                    <a:pt x="100" y="11"/>
                    <a:pt x="110" y="51"/>
                  </a:cubicBezTo>
                  <a:cubicBezTo>
                    <a:pt x="111" y="54"/>
                    <a:pt x="112" y="61"/>
                    <a:pt x="112" y="64"/>
                  </a:cubicBezTo>
                  <a:lnTo>
                    <a:pt x="81" y="60"/>
                  </a:ln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26E3657C-FFF1-48A7-A4A8-F46C743A03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0838" y="1141413"/>
              <a:ext cx="103188" cy="50800"/>
            </a:xfrm>
            <a:custGeom>
              <a:avLst/>
              <a:gdLst>
                <a:gd name="T0" fmla="*/ 8 w 16"/>
                <a:gd name="T1" fmla="*/ 0 h 8"/>
                <a:gd name="T2" fmla="*/ 0 w 16"/>
                <a:gd name="T3" fmla="*/ 4 h 8"/>
                <a:gd name="T4" fmla="*/ 8 w 16"/>
                <a:gd name="T5" fmla="*/ 8 h 8"/>
                <a:gd name="T6" fmla="*/ 8 w 16"/>
                <a:gd name="T7" fmla="*/ 8 h 8"/>
                <a:gd name="T8" fmla="*/ 15 w 16"/>
                <a:gd name="T9" fmla="*/ 5 h 8"/>
                <a:gd name="T10" fmla="*/ 8 w 16"/>
                <a:gd name="T11" fmla="*/ 0 h 8"/>
                <a:gd name="T12" fmla="*/ 8 w 16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8">
                  <a:moveTo>
                    <a:pt x="8" y="0"/>
                  </a:moveTo>
                  <a:cubicBezTo>
                    <a:pt x="4" y="0"/>
                    <a:pt x="0" y="2"/>
                    <a:pt x="0" y="4"/>
                  </a:cubicBezTo>
                  <a:cubicBezTo>
                    <a:pt x="0" y="6"/>
                    <a:pt x="4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2" y="8"/>
                    <a:pt x="15" y="7"/>
                    <a:pt x="15" y="5"/>
                  </a:cubicBezTo>
                  <a:cubicBezTo>
                    <a:pt x="16" y="2"/>
                    <a:pt x="12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solidFill>
              <a:srgbClr val="F5A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2">
              <a:extLst>
                <a:ext uri="{FF2B5EF4-FFF2-40B4-BE49-F238E27FC236}">
                  <a16:creationId xmlns:a16="http://schemas.microsoft.com/office/drawing/2014/main" id="{97B6BBBB-B6C7-4FF9-83E1-3B612C17DA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9238" y="1166813"/>
              <a:ext cx="95250" cy="69850"/>
            </a:xfrm>
            <a:custGeom>
              <a:avLst/>
              <a:gdLst>
                <a:gd name="T0" fmla="*/ 12 w 15"/>
                <a:gd name="T1" fmla="*/ 1 h 11"/>
                <a:gd name="T2" fmla="*/ 0 w 15"/>
                <a:gd name="T3" fmla="*/ 6 h 11"/>
                <a:gd name="T4" fmla="*/ 8 w 15"/>
                <a:gd name="T5" fmla="*/ 8 h 11"/>
                <a:gd name="T6" fmla="*/ 12 w 15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1">
                  <a:moveTo>
                    <a:pt x="12" y="1"/>
                  </a:moveTo>
                  <a:cubicBezTo>
                    <a:pt x="15" y="0"/>
                    <a:pt x="5" y="6"/>
                    <a:pt x="0" y="6"/>
                  </a:cubicBezTo>
                  <a:cubicBezTo>
                    <a:pt x="0" y="6"/>
                    <a:pt x="3" y="11"/>
                    <a:pt x="8" y="8"/>
                  </a:cubicBezTo>
                  <a:cubicBezTo>
                    <a:pt x="14" y="6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3F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3">
              <a:extLst>
                <a:ext uri="{FF2B5EF4-FFF2-40B4-BE49-F238E27FC236}">
                  <a16:creationId xmlns:a16="http://schemas.microsoft.com/office/drawing/2014/main" id="{5F4F85DA-7233-4656-B534-B2631F33F7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28288" y="1314451"/>
              <a:ext cx="160338" cy="88900"/>
            </a:xfrm>
            <a:custGeom>
              <a:avLst/>
              <a:gdLst>
                <a:gd name="T0" fmla="*/ 0 w 25"/>
                <a:gd name="T1" fmla="*/ 9 h 14"/>
                <a:gd name="T2" fmla="*/ 25 w 25"/>
                <a:gd name="T3" fmla="*/ 0 h 14"/>
                <a:gd name="T4" fmla="*/ 0 w 25"/>
                <a:gd name="T5" fmla="*/ 13 h 14"/>
                <a:gd name="T6" fmla="*/ 0 w 25"/>
                <a:gd name="T7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4">
                  <a:moveTo>
                    <a:pt x="0" y="9"/>
                  </a:moveTo>
                  <a:cubicBezTo>
                    <a:pt x="0" y="9"/>
                    <a:pt x="13" y="9"/>
                    <a:pt x="25" y="0"/>
                  </a:cubicBezTo>
                  <a:cubicBezTo>
                    <a:pt x="25" y="0"/>
                    <a:pt x="20" y="14"/>
                    <a:pt x="0" y="13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4">
              <a:extLst>
                <a:ext uri="{FF2B5EF4-FFF2-40B4-BE49-F238E27FC236}">
                  <a16:creationId xmlns:a16="http://schemas.microsoft.com/office/drawing/2014/main" id="{D39A61DB-C622-4653-95AC-CBD942608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8225" y="1498601"/>
              <a:ext cx="1192213" cy="1763713"/>
            </a:xfrm>
            <a:custGeom>
              <a:avLst/>
              <a:gdLst>
                <a:gd name="T0" fmla="*/ 38 w 186"/>
                <a:gd name="T1" fmla="*/ 221 h 276"/>
                <a:gd name="T2" fmla="*/ 41 w 186"/>
                <a:gd name="T3" fmla="*/ 237 h 276"/>
                <a:gd name="T4" fmla="*/ 176 w 186"/>
                <a:gd name="T5" fmla="*/ 276 h 276"/>
                <a:gd name="T6" fmla="*/ 161 w 186"/>
                <a:gd name="T7" fmla="*/ 181 h 276"/>
                <a:gd name="T8" fmla="*/ 157 w 186"/>
                <a:gd name="T9" fmla="*/ 124 h 276"/>
                <a:gd name="T10" fmla="*/ 173 w 186"/>
                <a:gd name="T11" fmla="*/ 60 h 276"/>
                <a:gd name="T12" fmla="*/ 152 w 186"/>
                <a:gd name="T13" fmla="*/ 0 h 276"/>
                <a:gd name="T14" fmla="*/ 66 w 186"/>
                <a:gd name="T15" fmla="*/ 6 h 276"/>
                <a:gd name="T16" fmla="*/ 0 w 186"/>
                <a:gd name="T17" fmla="*/ 66 h 276"/>
                <a:gd name="T18" fmla="*/ 31 w 186"/>
                <a:gd name="T19" fmla="*/ 114 h 276"/>
                <a:gd name="T20" fmla="*/ 32 w 186"/>
                <a:gd name="T21" fmla="*/ 132 h 276"/>
                <a:gd name="T22" fmla="*/ 38 w 186"/>
                <a:gd name="T23" fmla="*/ 221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" h="276">
                  <a:moveTo>
                    <a:pt x="38" y="221"/>
                  </a:moveTo>
                  <a:cubicBezTo>
                    <a:pt x="38" y="228"/>
                    <a:pt x="41" y="237"/>
                    <a:pt x="41" y="237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76" y="276"/>
                    <a:pt x="186" y="215"/>
                    <a:pt x="161" y="181"/>
                  </a:cubicBezTo>
                  <a:cubicBezTo>
                    <a:pt x="150" y="165"/>
                    <a:pt x="152" y="143"/>
                    <a:pt x="157" y="124"/>
                  </a:cubicBezTo>
                  <a:cubicBezTo>
                    <a:pt x="173" y="60"/>
                    <a:pt x="173" y="60"/>
                    <a:pt x="173" y="6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6"/>
                    <a:pt x="17" y="1"/>
                    <a:pt x="0" y="66"/>
                  </a:cubicBezTo>
                  <a:cubicBezTo>
                    <a:pt x="31" y="114"/>
                    <a:pt x="31" y="114"/>
                    <a:pt x="31" y="114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8" y="221"/>
                    <a:pt x="38" y="221"/>
                    <a:pt x="38" y="221"/>
                  </a:cubicBezTo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5">
              <a:extLst>
                <a:ext uri="{FF2B5EF4-FFF2-40B4-BE49-F238E27FC236}">
                  <a16:creationId xmlns:a16="http://schemas.microsoft.com/office/drawing/2014/main" id="{F4879B35-02E9-4D91-B173-B7983264990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8813" y="2757488"/>
              <a:ext cx="1636713" cy="3425825"/>
            </a:xfrm>
            <a:custGeom>
              <a:avLst/>
              <a:gdLst>
                <a:gd name="T0" fmla="*/ 229 w 255"/>
                <a:gd name="T1" fmla="*/ 0 h 536"/>
                <a:gd name="T2" fmla="*/ 233 w 255"/>
                <a:gd name="T3" fmla="*/ 87 h 536"/>
                <a:gd name="T4" fmla="*/ 219 w 255"/>
                <a:gd name="T5" fmla="*/ 109 h 536"/>
                <a:gd name="T6" fmla="*/ 109 w 255"/>
                <a:gd name="T7" fmla="*/ 294 h 536"/>
                <a:gd name="T8" fmla="*/ 46 w 255"/>
                <a:gd name="T9" fmla="*/ 536 h 536"/>
                <a:gd name="T10" fmla="*/ 0 w 255"/>
                <a:gd name="T11" fmla="*/ 529 h 536"/>
                <a:gd name="T12" fmla="*/ 37 w 255"/>
                <a:gd name="T13" fmla="*/ 279 h 536"/>
                <a:gd name="T14" fmla="*/ 97 w 255"/>
                <a:gd name="T15" fmla="*/ 24 h 536"/>
                <a:gd name="T16" fmla="*/ 229 w 255"/>
                <a:gd name="T17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536">
                  <a:moveTo>
                    <a:pt x="229" y="0"/>
                  </a:moveTo>
                  <a:cubicBezTo>
                    <a:pt x="231" y="0"/>
                    <a:pt x="255" y="55"/>
                    <a:pt x="233" y="87"/>
                  </a:cubicBezTo>
                  <a:cubicBezTo>
                    <a:pt x="231" y="90"/>
                    <a:pt x="226" y="98"/>
                    <a:pt x="219" y="109"/>
                  </a:cubicBezTo>
                  <a:cubicBezTo>
                    <a:pt x="186" y="159"/>
                    <a:pt x="111" y="277"/>
                    <a:pt x="109" y="294"/>
                  </a:cubicBezTo>
                  <a:cubicBezTo>
                    <a:pt x="106" y="315"/>
                    <a:pt x="46" y="536"/>
                    <a:pt x="46" y="536"/>
                  </a:cubicBezTo>
                  <a:cubicBezTo>
                    <a:pt x="0" y="529"/>
                    <a:pt x="0" y="529"/>
                    <a:pt x="0" y="529"/>
                  </a:cubicBezTo>
                  <a:cubicBezTo>
                    <a:pt x="37" y="279"/>
                    <a:pt x="37" y="279"/>
                    <a:pt x="37" y="279"/>
                  </a:cubicBezTo>
                  <a:cubicBezTo>
                    <a:pt x="97" y="24"/>
                    <a:pt x="97" y="24"/>
                    <a:pt x="97" y="24"/>
                  </a:cubicBezTo>
                  <a:lnTo>
                    <a:pt x="229" y="0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6">
              <a:extLst>
                <a:ext uri="{FF2B5EF4-FFF2-40B4-BE49-F238E27FC236}">
                  <a16:creationId xmlns:a16="http://schemas.microsoft.com/office/drawing/2014/main" id="{E303522F-1A67-4087-BFBA-1EEE35DF4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5250" y="738188"/>
              <a:ext cx="261938" cy="249238"/>
            </a:xfrm>
            <a:custGeom>
              <a:avLst/>
              <a:gdLst>
                <a:gd name="T0" fmla="*/ 41 w 41"/>
                <a:gd name="T1" fmla="*/ 7 h 39"/>
                <a:gd name="T2" fmla="*/ 37 w 41"/>
                <a:gd name="T3" fmla="*/ 31 h 39"/>
                <a:gd name="T4" fmla="*/ 7 w 41"/>
                <a:gd name="T5" fmla="*/ 39 h 39"/>
                <a:gd name="T6" fmla="*/ 41 w 41"/>
                <a:gd name="T7" fmla="*/ 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39">
                  <a:moveTo>
                    <a:pt x="41" y="7"/>
                  </a:moveTo>
                  <a:cubicBezTo>
                    <a:pt x="41" y="7"/>
                    <a:pt x="34" y="21"/>
                    <a:pt x="37" y="31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0" y="0"/>
                    <a:pt x="41" y="7"/>
                  </a:cubicBez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7">
              <a:extLst>
                <a:ext uri="{FF2B5EF4-FFF2-40B4-BE49-F238E27FC236}">
                  <a16:creationId xmlns:a16="http://schemas.microsoft.com/office/drawing/2014/main" id="{6A1F7B54-92E2-4F64-9871-DF673811DE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36263" y="1000126"/>
              <a:ext cx="236538" cy="339725"/>
            </a:xfrm>
            <a:custGeom>
              <a:avLst/>
              <a:gdLst>
                <a:gd name="T0" fmla="*/ 33 w 37"/>
                <a:gd name="T1" fmla="*/ 1 h 53"/>
                <a:gd name="T2" fmla="*/ 0 w 37"/>
                <a:gd name="T3" fmla="*/ 53 h 53"/>
                <a:gd name="T4" fmla="*/ 2 w 37"/>
                <a:gd name="T5" fmla="*/ 0 h 53"/>
                <a:gd name="T6" fmla="*/ 33 w 37"/>
                <a:gd name="T7" fmla="*/ 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53">
                  <a:moveTo>
                    <a:pt x="33" y="1"/>
                  </a:moveTo>
                  <a:cubicBezTo>
                    <a:pt x="33" y="1"/>
                    <a:pt x="37" y="45"/>
                    <a:pt x="0" y="53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33" y="1"/>
                  </a:ln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51" name="Picture 19">
              <a:extLst>
                <a:ext uri="{FF2B5EF4-FFF2-40B4-BE49-F238E27FC236}">
                  <a16:creationId xmlns:a16="http://schemas.microsoft.com/office/drawing/2014/main" id="{6B94E982-91DC-4F14-B513-E328115FB4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70925" y="1946276"/>
              <a:ext cx="500063" cy="454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2" name="Freeform 22">
              <a:extLst>
                <a:ext uri="{FF2B5EF4-FFF2-40B4-BE49-F238E27FC236}">
                  <a16:creationId xmlns:a16="http://schemas.microsoft.com/office/drawing/2014/main" id="{8E954E65-CA79-40D9-9C60-D4F33B789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5650" y="1825626"/>
              <a:ext cx="1673225" cy="714375"/>
            </a:xfrm>
            <a:custGeom>
              <a:avLst/>
              <a:gdLst>
                <a:gd name="T0" fmla="*/ 1054 w 1054"/>
                <a:gd name="T1" fmla="*/ 310 h 450"/>
                <a:gd name="T2" fmla="*/ 747 w 1054"/>
                <a:gd name="T3" fmla="*/ 438 h 450"/>
                <a:gd name="T4" fmla="*/ 246 w 1054"/>
                <a:gd name="T5" fmla="*/ 450 h 450"/>
                <a:gd name="T6" fmla="*/ 0 w 1054"/>
                <a:gd name="T7" fmla="*/ 36 h 450"/>
                <a:gd name="T8" fmla="*/ 517 w 1054"/>
                <a:gd name="T9" fmla="*/ 0 h 450"/>
                <a:gd name="T10" fmla="*/ 739 w 1054"/>
                <a:gd name="T11" fmla="*/ 402 h 450"/>
                <a:gd name="T12" fmla="*/ 1050 w 1054"/>
                <a:gd name="T13" fmla="*/ 281 h 450"/>
                <a:gd name="T14" fmla="*/ 1054 w 1054"/>
                <a:gd name="T15" fmla="*/ 31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4" h="450">
                  <a:moveTo>
                    <a:pt x="1054" y="310"/>
                  </a:moveTo>
                  <a:lnTo>
                    <a:pt x="747" y="438"/>
                  </a:lnTo>
                  <a:lnTo>
                    <a:pt x="246" y="450"/>
                  </a:lnTo>
                  <a:lnTo>
                    <a:pt x="0" y="36"/>
                  </a:lnTo>
                  <a:lnTo>
                    <a:pt x="517" y="0"/>
                  </a:lnTo>
                  <a:lnTo>
                    <a:pt x="739" y="402"/>
                  </a:lnTo>
                  <a:lnTo>
                    <a:pt x="1050" y="281"/>
                  </a:lnTo>
                  <a:lnTo>
                    <a:pt x="1054" y="310"/>
                  </a:lnTo>
                  <a:close/>
                </a:path>
              </a:pathLst>
            </a:custGeom>
            <a:solidFill>
              <a:srgbClr val="AFAF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3">
              <a:extLst>
                <a:ext uri="{FF2B5EF4-FFF2-40B4-BE49-F238E27FC236}">
                  <a16:creationId xmlns:a16="http://schemas.microsoft.com/office/drawing/2014/main" id="{B642AF8E-025B-45EE-BF30-9207F0473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5038" y="1838326"/>
              <a:ext cx="333375" cy="479425"/>
            </a:xfrm>
            <a:custGeom>
              <a:avLst/>
              <a:gdLst>
                <a:gd name="T0" fmla="*/ 85 w 210"/>
                <a:gd name="T1" fmla="*/ 0 h 302"/>
                <a:gd name="T2" fmla="*/ 0 w 210"/>
                <a:gd name="T3" fmla="*/ 209 h 302"/>
                <a:gd name="T4" fmla="*/ 194 w 210"/>
                <a:gd name="T5" fmla="*/ 302 h 302"/>
                <a:gd name="T6" fmla="*/ 210 w 210"/>
                <a:gd name="T7" fmla="*/ 120 h 302"/>
                <a:gd name="T8" fmla="*/ 85 w 210"/>
                <a:gd name="T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302">
                  <a:moveTo>
                    <a:pt x="85" y="0"/>
                  </a:moveTo>
                  <a:lnTo>
                    <a:pt x="0" y="209"/>
                  </a:lnTo>
                  <a:lnTo>
                    <a:pt x="194" y="302"/>
                  </a:lnTo>
                  <a:lnTo>
                    <a:pt x="210" y="120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4">
              <a:extLst>
                <a:ext uri="{FF2B5EF4-FFF2-40B4-BE49-F238E27FC236}">
                  <a16:creationId xmlns:a16="http://schemas.microsoft.com/office/drawing/2014/main" id="{D1DA1659-36F3-433C-919F-56352ACA1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7825" y="1441451"/>
              <a:ext cx="268288" cy="122238"/>
            </a:xfrm>
            <a:custGeom>
              <a:avLst/>
              <a:gdLst>
                <a:gd name="T0" fmla="*/ 169 w 169"/>
                <a:gd name="T1" fmla="*/ 40 h 77"/>
                <a:gd name="T2" fmla="*/ 137 w 169"/>
                <a:gd name="T3" fmla="*/ 0 h 77"/>
                <a:gd name="T4" fmla="*/ 0 w 169"/>
                <a:gd name="T5" fmla="*/ 36 h 77"/>
                <a:gd name="T6" fmla="*/ 16 w 169"/>
                <a:gd name="T7" fmla="*/ 77 h 77"/>
                <a:gd name="T8" fmla="*/ 169 w 169"/>
                <a:gd name="T9" fmla="*/ 4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77">
                  <a:moveTo>
                    <a:pt x="169" y="40"/>
                  </a:moveTo>
                  <a:lnTo>
                    <a:pt x="137" y="0"/>
                  </a:lnTo>
                  <a:lnTo>
                    <a:pt x="0" y="36"/>
                  </a:lnTo>
                  <a:lnTo>
                    <a:pt x="16" y="77"/>
                  </a:lnTo>
                  <a:lnTo>
                    <a:pt x="169" y="40"/>
                  </a:ln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5">
              <a:extLst>
                <a:ext uri="{FF2B5EF4-FFF2-40B4-BE49-F238E27FC236}">
                  <a16:creationId xmlns:a16="http://schemas.microsoft.com/office/drawing/2014/main" id="{59894804-F13B-49B0-BF7E-FAB5AE6BB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2738" y="1511301"/>
              <a:ext cx="90488" cy="223838"/>
            </a:xfrm>
            <a:custGeom>
              <a:avLst/>
              <a:gdLst>
                <a:gd name="T0" fmla="*/ 57 w 57"/>
                <a:gd name="T1" fmla="*/ 33 h 141"/>
                <a:gd name="T2" fmla="*/ 0 w 57"/>
                <a:gd name="T3" fmla="*/ 141 h 141"/>
                <a:gd name="T4" fmla="*/ 0 w 57"/>
                <a:gd name="T5" fmla="*/ 33 h 141"/>
                <a:gd name="T6" fmla="*/ 4 w 57"/>
                <a:gd name="T7" fmla="*/ 0 h 141"/>
                <a:gd name="T8" fmla="*/ 41 w 57"/>
                <a:gd name="T9" fmla="*/ 0 h 141"/>
                <a:gd name="T10" fmla="*/ 57 w 57"/>
                <a:gd name="T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141">
                  <a:moveTo>
                    <a:pt x="57" y="33"/>
                  </a:moveTo>
                  <a:lnTo>
                    <a:pt x="0" y="141"/>
                  </a:lnTo>
                  <a:lnTo>
                    <a:pt x="0" y="33"/>
                  </a:lnTo>
                  <a:lnTo>
                    <a:pt x="4" y="0"/>
                  </a:lnTo>
                  <a:lnTo>
                    <a:pt x="41" y="0"/>
                  </a:lnTo>
                  <a:lnTo>
                    <a:pt x="57" y="33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6">
              <a:extLst>
                <a:ext uri="{FF2B5EF4-FFF2-40B4-BE49-F238E27FC236}">
                  <a16:creationId xmlns:a16="http://schemas.microsoft.com/office/drawing/2014/main" id="{290C70FB-8671-4B2C-8414-32DD49DACB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2738" y="1511301"/>
              <a:ext cx="90488" cy="223838"/>
            </a:xfrm>
            <a:custGeom>
              <a:avLst/>
              <a:gdLst>
                <a:gd name="T0" fmla="*/ 57 w 57"/>
                <a:gd name="T1" fmla="*/ 33 h 141"/>
                <a:gd name="T2" fmla="*/ 0 w 57"/>
                <a:gd name="T3" fmla="*/ 141 h 141"/>
                <a:gd name="T4" fmla="*/ 0 w 57"/>
                <a:gd name="T5" fmla="*/ 33 h 141"/>
                <a:gd name="T6" fmla="*/ 4 w 57"/>
                <a:gd name="T7" fmla="*/ 0 h 141"/>
                <a:gd name="T8" fmla="*/ 41 w 57"/>
                <a:gd name="T9" fmla="*/ 0 h 141"/>
                <a:gd name="T10" fmla="*/ 57 w 57"/>
                <a:gd name="T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141">
                  <a:moveTo>
                    <a:pt x="57" y="33"/>
                  </a:moveTo>
                  <a:lnTo>
                    <a:pt x="0" y="141"/>
                  </a:lnTo>
                  <a:lnTo>
                    <a:pt x="0" y="33"/>
                  </a:lnTo>
                  <a:lnTo>
                    <a:pt x="4" y="0"/>
                  </a:lnTo>
                  <a:lnTo>
                    <a:pt x="41" y="0"/>
                  </a:lnTo>
                  <a:lnTo>
                    <a:pt x="57" y="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7">
              <a:extLst>
                <a:ext uri="{FF2B5EF4-FFF2-40B4-BE49-F238E27FC236}">
                  <a16:creationId xmlns:a16="http://schemas.microsoft.com/office/drawing/2014/main" id="{F0E6F74B-9A33-4070-9840-E242077E3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3200" y="1473201"/>
              <a:ext cx="122238" cy="90488"/>
            </a:xfrm>
            <a:custGeom>
              <a:avLst/>
              <a:gdLst>
                <a:gd name="T0" fmla="*/ 69 w 77"/>
                <a:gd name="T1" fmla="*/ 57 h 57"/>
                <a:gd name="T2" fmla="*/ 77 w 77"/>
                <a:gd name="T3" fmla="*/ 16 h 57"/>
                <a:gd name="T4" fmla="*/ 41 w 77"/>
                <a:gd name="T5" fmla="*/ 0 h 57"/>
                <a:gd name="T6" fmla="*/ 0 w 77"/>
                <a:gd name="T7" fmla="*/ 41 h 57"/>
                <a:gd name="T8" fmla="*/ 69 w 77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57">
                  <a:moveTo>
                    <a:pt x="69" y="57"/>
                  </a:moveTo>
                  <a:lnTo>
                    <a:pt x="77" y="16"/>
                  </a:lnTo>
                  <a:lnTo>
                    <a:pt x="41" y="0"/>
                  </a:lnTo>
                  <a:lnTo>
                    <a:pt x="0" y="41"/>
                  </a:lnTo>
                  <a:lnTo>
                    <a:pt x="69" y="57"/>
                  </a:ln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8">
              <a:extLst>
                <a:ext uri="{FF2B5EF4-FFF2-40B4-BE49-F238E27FC236}">
                  <a16:creationId xmlns:a16="http://schemas.microsoft.com/office/drawing/2014/main" id="{C744339C-8A13-464B-BD85-1F656ABD4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2525" y="1838326"/>
              <a:ext cx="134938" cy="485775"/>
            </a:xfrm>
            <a:custGeom>
              <a:avLst/>
              <a:gdLst>
                <a:gd name="T0" fmla="*/ 14 w 21"/>
                <a:gd name="T1" fmla="*/ 76 h 76"/>
                <a:gd name="T2" fmla="*/ 14 w 21"/>
                <a:gd name="T3" fmla="*/ 73 h 76"/>
                <a:gd name="T4" fmla="*/ 10 w 21"/>
                <a:gd name="T5" fmla="*/ 64 h 76"/>
                <a:gd name="T6" fmla="*/ 3 w 21"/>
                <a:gd name="T7" fmla="*/ 53 h 76"/>
                <a:gd name="T8" fmla="*/ 3 w 21"/>
                <a:gd name="T9" fmla="*/ 45 h 76"/>
                <a:gd name="T10" fmla="*/ 8 w 21"/>
                <a:gd name="T11" fmla="*/ 39 h 76"/>
                <a:gd name="T12" fmla="*/ 15 w 21"/>
                <a:gd name="T13" fmla="*/ 36 h 76"/>
                <a:gd name="T14" fmla="*/ 16 w 21"/>
                <a:gd name="T15" fmla="*/ 36 h 76"/>
                <a:gd name="T16" fmla="*/ 16 w 21"/>
                <a:gd name="T17" fmla="*/ 35 h 76"/>
                <a:gd name="T18" fmla="*/ 20 w 21"/>
                <a:gd name="T19" fmla="*/ 10 h 76"/>
                <a:gd name="T20" fmla="*/ 20 w 21"/>
                <a:gd name="T21" fmla="*/ 0 h 76"/>
                <a:gd name="T22" fmla="*/ 19 w 21"/>
                <a:gd name="T23" fmla="*/ 10 h 76"/>
                <a:gd name="T24" fmla="*/ 14 w 21"/>
                <a:gd name="T25" fmla="*/ 35 h 76"/>
                <a:gd name="T26" fmla="*/ 15 w 21"/>
                <a:gd name="T27" fmla="*/ 34 h 76"/>
                <a:gd name="T28" fmla="*/ 7 w 21"/>
                <a:gd name="T29" fmla="*/ 37 h 76"/>
                <a:gd name="T30" fmla="*/ 1 w 21"/>
                <a:gd name="T31" fmla="*/ 44 h 76"/>
                <a:gd name="T32" fmla="*/ 1 w 21"/>
                <a:gd name="T33" fmla="*/ 53 h 76"/>
                <a:gd name="T34" fmla="*/ 4 w 21"/>
                <a:gd name="T35" fmla="*/ 60 h 76"/>
                <a:gd name="T36" fmla="*/ 9 w 21"/>
                <a:gd name="T37" fmla="*/ 65 h 76"/>
                <a:gd name="T38" fmla="*/ 13 w 21"/>
                <a:gd name="T39" fmla="*/ 73 h 76"/>
                <a:gd name="T40" fmla="*/ 14 w 21"/>
                <a:gd name="T4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" h="76">
                  <a:moveTo>
                    <a:pt x="14" y="76"/>
                  </a:moveTo>
                  <a:cubicBezTo>
                    <a:pt x="14" y="76"/>
                    <a:pt x="14" y="75"/>
                    <a:pt x="14" y="73"/>
                  </a:cubicBezTo>
                  <a:cubicBezTo>
                    <a:pt x="14" y="70"/>
                    <a:pt x="13" y="67"/>
                    <a:pt x="10" y="64"/>
                  </a:cubicBezTo>
                  <a:cubicBezTo>
                    <a:pt x="7" y="61"/>
                    <a:pt x="4" y="58"/>
                    <a:pt x="3" y="53"/>
                  </a:cubicBezTo>
                  <a:cubicBezTo>
                    <a:pt x="2" y="50"/>
                    <a:pt x="2" y="48"/>
                    <a:pt x="3" y="45"/>
                  </a:cubicBezTo>
                  <a:cubicBezTo>
                    <a:pt x="4" y="43"/>
                    <a:pt x="6" y="40"/>
                    <a:pt x="8" y="39"/>
                  </a:cubicBezTo>
                  <a:cubicBezTo>
                    <a:pt x="10" y="37"/>
                    <a:pt x="13" y="36"/>
                    <a:pt x="15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8" y="25"/>
                    <a:pt x="20" y="16"/>
                    <a:pt x="20" y="10"/>
                  </a:cubicBezTo>
                  <a:cubicBezTo>
                    <a:pt x="21" y="3"/>
                    <a:pt x="20" y="0"/>
                    <a:pt x="20" y="0"/>
                  </a:cubicBezTo>
                  <a:cubicBezTo>
                    <a:pt x="20" y="0"/>
                    <a:pt x="20" y="3"/>
                    <a:pt x="19" y="10"/>
                  </a:cubicBezTo>
                  <a:cubicBezTo>
                    <a:pt x="18" y="16"/>
                    <a:pt x="16" y="25"/>
                    <a:pt x="14" y="35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2" y="34"/>
                    <a:pt x="9" y="35"/>
                    <a:pt x="7" y="37"/>
                  </a:cubicBezTo>
                  <a:cubicBezTo>
                    <a:pt x="4" y="39"/>
                    <a:pt x="2" y="42"/>
                    <a:pt x="1" y="44"/>
                  </a:cubicBezTo>
                  <a:cubicBezTo>
                    <a:pt x="0" y="47"/>
                    <a:pt x="0" y="50"/>
                    <a:pt x="1" y="53"/>
                  </a:cubicBezTo>
                  <a:cubicBezTo>
                    <a:pt x="1" y="56"/>
                    <a:pt x="3" y="58"/>
                    <a:pt x="4" y="60"/>
                  </a:cubicBezTo>
                  <a:cubicBezTo>
                    <a:pt x="6" y="62"/>
                    <a:pt x="8" y="64"/>
                    <a:pt x="9" y="65"/>
                  </a:cubicBezTo>
                  <a:cubicBezTo>
                    <a:pt x="12" y="68"/>
                    <a:pt x="13" y="71"/>
                    <a:pt x="13" y="73"/>
                  </a:cubicBezTo>
                  <a:cubicBezTo>
                    <a:pt x="14" y="75"/>
                    <a:pt x="13" y="76"/>
                    <a:pt x="14" y="76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9">
              <a:extLst>
                <a:ext uri="{FF2B5EF4-FFF2-40B4-BE49-F238E27FC236}">
                  <a16:creationId xmlns:a16="http://schemas.microsoft.com/office/drawing/2014/main" id="{2AB6E2F0-13E9-4CD1-8E48-89D6D0BB0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6663" y="1882776"/>
              <a:ext cx="38100" cy="76200"/>
            </a:xfrm>
            <a:custGeom>
              <a:avLst/>
              <a:gdLst>
                <a:gd name="T0" fmla="*/ 1 w 6"/>
                <a:gd name="T1" fmla="*/ 0 h 12"/>
                <a:gd name="T2" fmla="*/ 3 w 6"/>
                <a:gd name="T3" fmla="*/ 6 h 12"/>
                <a:gd name="T4" fmla="*/ 5 w 6"/>
                <a:gd name="T5" fmla="*/ 12 h 12"/>
                <a:gd name="T6" fmla="*/ 5 w 6"/>
                <a:gd name="T7" fmla="*/ 5 h 12"/>
                <a:gd name="T8" fmla="*/ 1 w 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1" y="0"/>
                  </a:moveTo>
                  <a:cubicBezTo>
                    <a:pt x="0" y="1"/>
                    <a:pt x="1" y="3"/>
                    <a:pt x="3" y="6"/>
                  </a:cubicBezTo>
                  <a:cubicBezTo>
                    <a:pt x="4" y="9"/>
                    <a:pt x="5" y="12"/>
                    <a:pt x="5" y="12"/>
                  </a:cubicBezTo>
                  <a:cubicBezTo>
                    <a:pt x="6" y="12"/>
                    <a:pt x="6" y="9"/>
                    <a:pt x="5" y="5"/>
                  </a:cubicBezTo>
                  <a:cubicBezTo>
                    <a:pt x="3" y="2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0">
              <a:extLst>
                <a:ext uri="{FF2B5EF4-FFF2-40B4-BE49-F238E27FC236}">
                  <a16:creationId xmlns:a16="http://schemas.microsoft.com/office/drawing/2014/main" id="{3F34F69E-C079-437A-BC4F-C1A5707F0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2338" y="2163763"/>
              <a:ext cx="327025" cy="153988"/>
            </a:xfrm>
            <a:custGeom>
              <a:avLst/>
              <a:gdLst>
                <a:gd name="T0" fmla="*/ 0 w 51"/>
                <a:gd name="T1" fmla="*/ 1 h 24"/>
                <a:gd name="T2" fmla="*/ 25 w 51"/>
                <a:gd name="T3" fmla="*/ 14 h 24"/>
                <a:gd name="T4" fmla="*/ 51 w 51"/>
                <a:gd name="T5" fmla="*/ 24 h 24"/>
                <a:gd name="T6" fmla="*/ 26 w 51"/>
                <a:gd name="T7" fmla="*/ 12 h 24"/>
                <a:gd name="T8" fmla="*/ 0 w 51"/>
                <a:gd name="T9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4">
                  <a:moveTo>
                    <a:pt x="0" y="1"/>
                  </a:moveTo>
                  <a:cubicBezTo>
                    <a:pt x="0" y="1"/>
                    <a:pt x="11" y="7"/>
                    <a:pt x="25" y="14"/>
                  </a:cubicBezTo>
                  <a:cubicBezTo>
                    <a:pt x="39" y="20"/>
                    <a:pt x="50" y="24"/>
                    <a:pt x="51" y="24"/>
                  </a:cubicBezTo>
                  <a:cubicBezTo>
                    <a:pt x="51" y="23"/>
                    <a:pt x="40" y="18"/>
                    <a:pt x="26" y="12"/>
                  </a:cubicBezTo>
                  <a:cubicBezTo>
                    <a:pt x="12" y="5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1">
              <a:extLst>
                <a:ext uri="{FF2B5EF4-FFF2-40B4-BE49-F238E27FC236}">
                  <a16:creationId xmlns:a16="http://schemas.microsoft.com/office/drawing/2014/main" id="{B6136EF5-F972-4AE7-8CE8-E1A1EF133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1388" y="2119313"/>
              <a:ext cx="288925" cy="152400"/>
            </a:xfrm>
            <a:custGeom>
              <a:avLst/>
              <a:gdLst>
                <a:gd name="T0" fmla="*/ 0 w 45"/>
                <a:gd name="T1" fmla="*/ 0 h 24"/>
                <a:gd name="T2" fmla="*/ 22 w 45"/>
                <a:gd name="T3" fmla="*/ 13 h 24"/>
                <a:gd name="T4" fmla="*/ 45 w 45"/>
                <a:gd name="T5" fmla="*/ 24 h 24"/>
                <a:gd name="T6" fmla="*/ 23 w 45"/>
                <a:gd name="T7" fmla="*/ 11 h 24"/>
                <a:gd name="T8" fmla="*/ 0 w 4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4">
                  <a:moveTo>
                    <a:pt x="0" y="0"/>
                  </a:moveTo>
                  <a:cubicBezTo>
                    <a:pt x="0" y="1"/>
                    <a:pt x="10" y="6"/>
                    <a:pt x="22" y="13"/>
                  </a:cubicBezTo>
                  <a:cubicBezTo>
                    <a:pt x="34" y="19"/>
                    <a:pt x="45" y="24"/>
                    <a:pt x="45" y="24"/>
                  </a:cubicBezTo>
                  <a:cubicBezTo>
                    <a:pt x="45" y="23"/>
                    <a:pt x="35" y="18"/>
                    <a:pt x="23" y="11"/>
                  </a:cubicBezTo>
                  <a:cubicBezTo>
                    <a:pt x="11" y="5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2">
              <a:extLst>
                <a:ext uri="{FF2B5EF4-FFF2-40B4-BE49-F238E27FC236}">
                  <a16:creationId xmlns:a16="http://schemas.microsoft.com/office/drawing/2014/main" id="{0143E85F-B3D3-4D67-9775-4E0AA4373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2550" y="1889126"/>
              <a:ext cx="88900" cy="19050"/>
            </a:xfrm>
            <a:custGeom>
              <a:avLst/>
              <a:gdLst>
                <a:gd name="T0" fmla="*/ 0 w 14"/>
                <a:gd name="T1" fmla="*/ 1 h 3"/>
                <a:gd name="T2" fmla="*/ 7 w 14"/>
                <a:gd name="T3" fmla="*/ 2 h 3"/>
                <a:gd name="T4" fmla="*/ 14 w 14"/>
                <a:gd name="T5" fmla="*/ 2 h 3"/>
                <a:gd name="T6" fmla="*/ 7 w 14"/>
                <a:gd name="T7" fmla="*/ 0 h 3"/>
                <a:gd name="T8" fmla="*/ 0 w 14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3">
                  <a:moveTo>
                    <a:pt x="0" y="1"/>
                  </a:moveTo>
                  <a:cubicBezTo>
                    <a:pt x="0" y="2"/>
                    <a:pt x="3" y="2"/>
                    <a:pt x="7" y="2"/>
                  </a:cubicBezTo>
                  <a:cubicBezTo>
                    <a:pt x="11" y="3"/>
                    <a:pt x="14" y="2"/>
                    <a:pt x="14" y="2"/>
                  </a:cubicBezTo>
                  <a:cubicBezTo>
                    <a:pt x="14" y="1"/>
                    <a:pt x="11" y="1"/>
                    <a:pt x="7" y="0"/>
                  </a:cubicBezTo>
                  <a:cubicBezTo>
                    <a:pt x="3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3">
              <a:extLst>
                <a:ext uri="{FF2B5EF4-FFF2-40B4-BE49-F238E27FC236}">
                  <a16:creationId xmlns:a16="http://schemas.microsoft.com/office/drawing/2014/main" id="{B36A79B4-02C7-4582-81BB-B9F5E2EB0E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200" y="1908176"/>
              <a:ext cx="101600" cy="31750"/>
            </a:xfrm>
            <a:custGeom>
              <a:avLst/>
              <a:gdLst>
                <a:gd name="T0" fmla="*/ 0 w 16"/>
                <a:gd name="T1" fmla="*/ 0 h 5"/>
                <a:gd name="T2" fmla="*/ 8 w 16"/>
                <a:gd name="T3" fmla="*/ 3 h 5"/>
                <a:gd name="T4" fmla="*/ 15 w 16"/>
                <a:gd name="T5" fmla="*/ 4 h 5"/>
                <a:gd name="T6" fmla="*/ 8 w 16"/>
                <a:gd name="T7" fmla="*/ 1 h 5"/>
                <a:gd name="T8" fmla="*/ 0 w 1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5">
                  <a:moveTo>
                    <a:pt x="0" y="0"/>
                  </a:moveTo>
                  <a:cubicBezTo>
                    <a:pt x="0" y="1"/>
                    <a:pt x="3" y="2"/>
                    <a:pt x="8" y="3"/>
                  </a:cubicBezTo>
                  <a:cubicBezTo>
                    <a:pt x="12" y="4"/>
                    <a:pt x="15" y="5"/>
                    <a:pt x="15" y="4"/>
                  </a:cubicBezTo>
                  <a:cubicBezTo>
                    <a:pt x="16" y="4"/>
                    <a:pt x="12" y="2"/>
                    <a:pt x="8" y="1"/>
                  </a:cubicBezTo>
                  <a:cubicBezTo>
                    <a:pt x="4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34">
              <a:extLst>
                <a:ext uri="{FF2B5EF4-FFF2-40B4-BE49-F238E27FC236}">
                  <a16:creationId xmlns:a16="http://schemas.microsoft.com/office/drawing/2014/main" id="{E8902288-D978-46E2-92EC-62196F9BE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4175" y="6138863"/>
              <a:ext cx="576263" cy="101600"/>
            </a:xfrm>
            <a:custGeom>
              <a:avLst/>
              <a:gdLst>
                <a:gd name="T0" fmla="*/ 39 w 90"/>
                <a:gd name="T1" fmla="*/ 0 h 16"/>
                <a:gd name="T2" fmla="*/ 10 w 90"/>
                <a:gd name="T3" fmla="*/ 13 h 16"/>
                <a:gd name="T4" fmla="*/ 88 w 90"/>
                <a:gd name="T5" fmla="*/ 9 h 16"/>
                <a:gd name="T6" fmla="*/ 90 w 90"/>
                <a:gd name="T7" fmla="*/ 1 h 16"/>
                <a:gd name="T8" fmla="*/ 39 w 9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6">
                  <a:moveTo>
                    <a:pt x="39" y="0"/>
                  </a:moveTo>
                  <a:cubicBezTo>
                    <a:pt x="39" y="0"/>
                    <a:pt x="0" y="10"/>
                    <a:pt x="10" y="13"/>
                  </a:cubicBezTo>
                  <a:cubicBezTo>
                    <a:pt x="19" y="16"/>
                    <a:pt x="88" y="9"/>
                    <a:pt x="88" y="9"/>
                  </a:cubicBezTo>
                  <a:cubicBezTo>
                    <a:pt x="90" y="1"/>
                    <a:pt x="90" y="1"/>
                    <a:pt x="90" y="1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35">
              <a:extLst>
                <a:ext uri="{FF2B5EF4-FFF2-40B4-BE49-F238E27FC236}">
                  <a16:creationId xmlns:a16="http://schemas.microsoft.com/office/drawing/2014/main" id="{8F8E5F11-5D93-4EC0-8D51-D712C75BCC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3413" y="5953126"/>
              <a:ext cx="404813" cy="242888"/>
            </a:xfrm>
            <a:custGeom>
              <a:avLst/>
              <a:gdLst>
                <a:gd name="T0" fmla="*/ 198 w 255"/>
                <a:gd name="T1" fmla="*/ 153 h 153"/>
                <a:gd name="T2" fmla="*/ 255 w 255"/>
                <a:gd name="T3" fmla="*/ 0 h 153"/>
                <a:gd name="T4" fmla="*/ 8 w 255"/>
                <a:gd name="T5" fmla="*/ 0 h 153"/>
                <a:gd name="T6" fmla="*/ 0 w 255"/>
                <a:gd name="T7" fmla="*/ 117 h 153"/>
                <a:gd name="T8" fmla="*/ 198 w 255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5" h="153">
                  <a:moveTo>
                    <a:pt x="198" y="153"/>
                  </a:moveTo>
                  <a:lnTo>
                    <a:pt x="255" y="0"/>
                  </a:lnTo>
                  <a:lnTo>
                    <a:pt x="8" y="0"/>
                  </a:lnTo>
                  <a:lnTo>
                    <a:pt x="0" y="117"/>
                  </a:lnTo>
                  <a:lnTo>
                    <a:pt x="198" y="153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6">
              <a:extLst>
                <a:ext uri="{FF2B5EF4-FFF2-40B4-BE49-F238E27FC236}">
                  <a16:creationId xmlns:a16="http://schemas.microsoft.com/office/drawing/2014/main" id="{5562AF91-9EBE-4A5D-8306-B06A48E5C6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125" y="5621338"/>
              <a:ext cx="263525" cy="530225"/>
            </a:xfrm>
            <a:custGeom>
              <a:avLst/>
              <a:gdLst>
                <a:gd name="T0" fmla="*/ 10 w 41"/>
                <a:gd name="T1" fmla="*/ 44 h 83"/>
                <a:gd name="T2" fmla="*/ 7 w 41"/>
                <a:gd name="T3" fmla="*/ 76 h 83"/>
                <a:gd name="T4" fmla="*/ 41 w 41"/>
                <a:gd name="T5" fmla="*/ 5 h 83"/>
                <a:gd name="T6" fmla="*/ 36 w 41"/>
                <a:gd name="T7" fmla="*/ 0 h 83"/>
                <a:gd name="T8" fmla="*/ 10 w 41"/>
                <a:gd name="T9" fmla="*/ 4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3">
                  <a:moveTo>
                    <a:pt x="10" y="44"/>
                  </a:moveTo>
                  <a:cubicBezTo>
                    <a:pt x="10" y="44"/>
                    <a:pt x="0" y="83"/>
                    <a:pt x="7" y="76"/>
                  </a:cubicBezTo>
                  <a:cubicBezTo>
                    <a:pt x="15" y="69"/>
                    <a:pt x="41" y="5"/>
                    <a:pt x="41" y="5"/>
                  </a:cubicBezTo>
                  <a:cubicBezTo>
                    <a:pt x="36" y="0"/>
                    <a:pt x="36" y="0"/>
                    <a:pt x="36" y="0"/>
                  </a:cubicBezTo>
                  <a:lnTo>
                    <a:pt x="10" y="44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7">
              <a:extLst>
                <a:ext uri="{FF2B5EF4-FFF2-40B4-BE49-F238E27FC236}">
                  <a16:creationId xmlns:a16="http://schemas.microsoft.com/office/drawing/2014/main" id="{A4B17228-364E-4C44-9BEC-77D9D798C4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98225" y="5461001"/>
              <a:ext cx="352425" cy="441325"/>
            </a:xfrm>
            <a:custGeom>
              <a:avLst/>
              <a:gdLst>
                <a:gd name="T0" fmla="*/ 222 w 222"/>
                <a:gd name="T1" fmla="*/ 121 h 278"/>
                <a:gd name="T2" fmla="*/ 117 w 222"/>
                <a:gd name="T3" fmla="*/ 0 h 278"/>
                <a:gd name="T4" fmla="*/ 0 w 222"/>
                <a:gd name="T5" fmla="*/ 213 h 278"/>
                <a:gd name="T6" fmla="*/ 97 w 222"/>
                <a:gd name="T7" fmla="*/ 278 h 278"/>
                <a:gd name="T8" fmla="*/ 222 w 222"/>
                <a:gd name="T9" fmla="*/ 121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278">
                  <a:moveTo>
                    <a:pt x="222" y="121"/>
                  </a:moveTo>
                  <a:lnTo>
                    <a:pt x="117" y="0"/>
                  </a:lnTo>
                  <a:lnTo>
                    <a:pt x="0" y="213"/>
                  </a:lnTo>
                  <a:lnTo>
                    <a:pt x="97" y="278"/>
                  </a:lnTo>
                  <a:lnTo>
                    <a:pt x="222" y="121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38">
              <a:extLst>
                <a:ext uri="{FF2B5EF4-FFF2-40B4-BE49-F238E27FC236}">
                  <a16:creationId xmlns:a16="http://schemas.microsoft.com/office/drawing/2014/main" id="{78B6AE4A-5C32-4796-B488-E3D3299C5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2550" y="700088"/>
              <a:ext cx="261938" cy="280988"/>
            </a:xfrm>
            <a:custGeom>
              <a:avLst/>
              <a:gdLst>
                <a:gd name="T0" fmla="*/ 40 w 41"/>
                <a:gd name="T1" fmla="*/ 1 h 44"/>
                <a:gd name="T2" fmla="*/ 31 w 41"/>
                <a:gd name="T3" fmla="*/ 2 h 44"/>
                <a:gd name="T4" fmla="*/ 12 w 41"/>
                <a:gd name="T5" fmla="*/ 14 h 44"/>
                <a:gd name="T6" fmla="*/ 1 w 41"/>
                <a:gd name="T7" fmla="*/ 34 h 44"/>
                <a:gd name="T8" fmla="*/ 1 w 41"/>
                <a:gd name="T9" fmla="*/ 44 h 44"/>
                <a:gd name="T10" fmla="*/ 3 w 41"/>
                <a:gd name="T11" fmla="*/ 35 h 44"/>
                <a:gd name="T12" fmla="*/ 13 w 41"/>
                <a:gd name="T13" fmla="*/ 15 h 44"/>
                <a:gd name="T14" fmla="*/ 32 w 41"/>
                <a:gd name="T15" fmla="*/ 3 h 44"/>
                <a:gd name="T16" fmla="*/ 40 w 41"/>
                <a:gd name="T17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44">
                  <a:moveTo>
                    <a:pt x="40" y="1"/>
                  </a:moveTo>
                  <a:cubicBezTo>
                    <a:pt x="40" y="1"/>
                    <a:pt x="37" y="0"/>
                    <a:pt x="31" y="2"/>
                  </a:cubicBezTo>
                  <a:cubicBezTo>
                    <a:pt x="25" y="4"/>
                    <a:pt x="18" y="7"/>
                    <a:pt x="12" y="14"/>
                  </a:cubicBezTo>
                  <a:cubicBezTo>
                    <a:pt x="5" y="21"/>
                    <a:pt x="2" y="29"/>
                    <a:pt x="1" y="34"/>
                  </a:cubicBezTo>
                  <a:cubicBezTo>
                    <a:pt x="0" y="40"/>
                    <a:pt x="0" y="44"/>
                    <a:pt x="1" y="44"/>
                  </a:cubicBezTo>
                  <a:cubicBezTo>
                    <a:pt x="1" y="44"/>
                    <a:pt x="1" y="40"/>
                    <a:pt x="3" y="35"/>
                  </a:cubicBezTo>
                  <a:cubicBezTo>
                    <a:pt x="4" y="29"/>
                    <a:pt x="7" y="22"/>
                    <a:pt x="13" y="15"/>
                  </a:cubicBezTo>
                  <a:cubicBezTo>
                    <a:pt x="19" y="9"/>
                    <a:pt x="26" y="5"/>
                    <a:pt x="32" y="3"/>
                  </a:cubicBezTo>
                  <a:cubicBezTo>
                    <a:pt x="37" y="2"/>
                    <a:pt x="41" y="1"/>
                    <a:pt x="40" y="1"/>
                  </a:cubicBez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39">
              <a:extLst>
                <a:ext uri="{FF2B5EF4-FFF2-40B4-BE49-F238E27FC236}">
                  <a16:creationId xmlns:a16="http://schemas.microsoft.com/office/drawing/2014/main" id="{576C5674-863A-43BD-8999-2B11B540A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0713" y="1052513"/>
              <a:ext cx="103188" cy="114300"/>
            </a:xfrm>
            <a:custGeom>
              <a:avLst/>
              <a:gdLst>
                <a:gd name="T0" fmla="*/ 0 w 16"/>
                <a:gd name="T1" fmla="*/ 16 h 18"/>
                <a:gd name="T2" fmla="*/ 1 w 16"/>
                <a:gd name="T3" fmla="*/ 7 h 18"/>
                <a:gd name="T4" fmla="*/ 8 w 16"/>
                <a:gd name="T5" fmla="*/ 1 h 18"/>
                <a:gd name="T6" fmla="*/ 16 w 16"/>
                <a:gd name="T7" fmla="*/ 7 h 18"/>
                <a:gd name="T8" fmla="*/ 11 w 16"/>
                <a:gd name="T9" fmla="*/ 16 h 18"/>
                <a:gd name="T10" fmla="*/ 1 w 16"/>
                <a:gd name="T11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8">
                  <a:moveTo>
                    <a:pt x="0" y="16"/>
                  </a:moveTo>
                  <a:cubicBezTo>
                    <a:pt x="0" y="13"/>
                    <a:pt x="0" y="10"/>
                    <a:pt x="1" y="7"/>
                  </a:cubicBezTo>
                  <a:cubicBezTo>
                    <a:pt x="2" y="4"/>
                    <a:pt x="5" y="1"/>
                    <a:pt x="8" y="1"/>
                  </a:cubicBezTo>
                  <a:cubicBezTo>
                    <a:pt x="12" y="0"/>
                    <a:pt x="15" y="4"/>
                    <a:pt x="16" y="7"/>
                  </a:cubicBezTo>
                  <a:cubicBezTo>
                    <a:pt x="16" y="11"/>
                    <a:pt x="14" y="15"/>
                    <a:pt x="11" y="16"/>
                  </a:cubicBezTo>
                  <a:cubicBezTo>
                    <a:pt x="8" y="18"/>
                    <a:pt x="4" y="18"/>
                    <a:pt x="1" y="17"/>
                  </a:cubicBezTo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0">
              <a:extLst>
                <a:ext uri="{FF2B5EF4-FFF2-40B4-BE49-F238E27FC236}">
                  <a16:creationId xmlns:a16="http://schemas.microsoft.com/office/drawing/2014/main" id="{6E623886-B009-4EDD-BC73-975F623CF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0988" y="930276"/>
              <a:ext cx="198438" cy="198438"/>
            </a:xfrm>
            <a:custGeom>
              <a:avLst/>
              <a:gdLst>
                <a:gd name="T0" fmla="*/ 0 w 31"/>
                <a:gd name="T1" fmla="*/ 15 h 31"/>
                <a:gd name="T2" fmla="*/ 1 w 31"/>
                <a:gd name="T3" fmla="*/ 12 h 31"/>
                <a:gd name="T4" fmla="*/ 7 w 31"/>
                <a:gd name="T5" fmla="*/ 4 h 31"/>
                <a:gd name="T6" fmla="*/ 13 w 31"/>
                <a:gd name="T7" fmla="*/ 1 h 31"/>
                <a:gd name="T8" fmla="*/ 20 w 31"/>
                <a:gd name="T9" fmla="*/ 2 h 31"/>
                <a:gd name="T10" fmla="*/ 27 w 31"/>
                <a:gd name="T11" fmla="*/ 7 h 31"/>
                <a:gd name="T12" fmla="*/ 30 w 31"/>
                <a:gd name="T13" fmla="*/ 15 h 31"/>
                <a:gd name="T14" fmla="*/ 27 w 31"/>
                <a:gd name="T15" fmla="*/ 24 h 31"/>
                <a:gd name="T16" fmla="*/ 20 w 31"/>
                <a:gd name="T17" fmla="*/ 29 h 31"/>
                <a:gd name="T18" fmla="*/ 13 w 31"/>
                <a:gd name="T19" fmla="*/ 30 h 31"/>
                <a:gd name="T20" fmla="*/ 7 w 31"/>
                <a:gd name="T21" fmla="*/ 27 h 31"/>
                <a:gd name="T22" fmla="*/ 1 w 31"/>
                <a:gd name="T23" fmla="*/ 19 h 31"/>
                <a:gd name="T24" fmla="*/ 0 w 31"/>
                <a:gd name="T25" fmla="*/ 15 h 31"/>
                <a:gd name="T26" fmla="*/ 0 w 31"/>
                <a:gd name="T27" fmla="*/ 16 h 31"/>
                <a:gd name="T28" fmla="*/ 1 w 31"/>
                <a:gd name="T29" fmla="*/ 19 h 31"/>
                <a:gd name="T30" fmla="*/ 6 w 31"/>
                <a:gd name="T31" fmla="*/ 27 h 31"/>
                <a:gd name="T32" fmla="*/ 12 w 31"/>
                <a:gd name="T33" fmla="*/ 30 h 31"/>
                <a:gd name="T34" fmla="*/ 21 w 31"/>
                <a:gd name="T35" fmla="*/ 30 h 31"/>
                <a:gd name="T36" fmla="*/ 28 w 31"/>
                <a:gd name="T37" fmla="*/ 24 h 31"/>
                <a:gd name="T38" fmla="*/ 31 w 31"/>
                <a:gd name="T39" fmla="*/ 15 h 31"/>
                <a:gd name="T40" fmla="*/ 28 w 31"/>
                <a:gd name="T41" fmla="*/ 6 h 31"/>
                <a:gd name="T42" fmla="*/ 21 w 31"/>
                <a:gd name="T43" fmla="*/ 1 h 31"/>
                <a:gd name="T44" fmla="*/ 12 w 31"/>
                <a:gd name="T45" fmla="*/ 0 h 31"/>
                <a:gd name="T46" fmla="*/ 6 w 31"/>
                <a:gd name="T47" fmla="*/ 3 h 31"/>
                <a:gd name="T48" fmla="*/ 1 w 31"/>
                <a:gd name="T49" fmla="*/ 12 h 31"/>
                <a:gd name="T50" fmla="*/ 0 w 31"/>
                <a:gd name="T51" fmla="*/ 14 h 31"/>
                <a:gd name="T52" fmla="*/ 0 w 31"/>
                <a:gd name="T53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1" h="31">
                  <a:moveTo>
                    <a:pt x="0" y="15"/>
                  </a:moveTo>
                  <a:cubicBezTo>
                    <a:pt x="1" y="15"/>
                    <a:pt x="0" y="14"/>
                    <a:pt x="1" y="12"/>
                  </a:cubicBezTo>
                  <a:cubicBezTo>
                    <a:pt x="2" y="9"/>
                    <a:pt x="3" y="6"/>
                    <a:pt x="7" y="4"/>
                  </a:cubicBezTo>
                  <a:cubicBezTo>
                    <a:pt x="8" y="2"/>
                    <a:pt x="10" y="1"/>
                    <a:pt x="13" y="1"/>
                  </a:cubicBezTo>
                  <a:cubicBezTo>
                    <a:pt x="15" y="1"/>
                    <a:pt x="18" y="1"/>
                    <a:pt x="20" y="2"/>
                  </a:cubicBezTo>
                  <a:cubicBezTo>
                    <a:pt x="23" y="3"/>
                    <a:pt x="25" y="4"/>
                    <a:pt x="27" y="7"/>
                  </a:cubicBezTo>
                  <a:cubicBezTo>
                    <a:pt x="29" y="9"/>
                    <a:pt x="30" y="12"/>
                    <a:pt x="30" y="15"/>
                  </a:cubicBezTo>
                  <a:cubicBezTo>
                    <a:pt x="30" y="18"/>
                    <a:pt x="29" y="21"/>
                    <a:pt x="27" y="24"/>
                  </a:cubicBezTo>
                  <a:cubicBezTo>
                    <a:pt x="25" y="26"/>
                    <a:pt x="23" y="28"/>
                    <a:pt x="20" y="29"/>
                  </a:cubicBezTo>
                  <a:cubicBezTo>
                    <a:pt x="18" y="30"/>
                    <a:pt x="15" y="30"/>
                    <a:pt x="13" y="30"/>
                  </a:cubicBezTo>
                  <a:cubicBezTo>
                    <a:pt x="10" y="29"/>
                    <a:pt x="8" y="28"/>
                    <a:pt x="7" y="27"/>
                  </a:cubicBezTo>
                  <a:cubicBezTo>
                    <a:pt x="3" y="24"/>
                    <a:pt x="2" y="21"/>
                    <a:pt x="1" y="19"/>
                  </a:cubicBezTo>
                  <a:cubicBezTo>
                    <a:pt x="0" y="17"/>
                    <a:pt x="1" y="15"/>
                    <a:pt x="0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17"/>
                    <a:pt x="0" y="18"/>
                    <a:pt x="1" y="19"/>
                  </a:cubicBezTo>
                  <a:cubicBezTo>
                    <a:pt x="1" y="21"/>
                    <a:pt x="3" y="25"/>
                    <a:pt x="6" y="27"/>
                  </a:cubicBezTo>
                  <a:cubicBezTo>
                    <a:pt x="8" y="29"/>
                    <a:pt x="10" y="30"/>
                    <a:pt x="12" y="30"/>
                  </a:cubicBezTo>
                  <a:cubicBezTo>
                    <a:pt x="15" y="31"/>
                    <a:pt x="18" y="31"/>
                    <a:pt x="21" y="30"/>
                  </a:cubicBezTo>
                  <a:cubicBezTo>
                    <a:pt x="23" y="29"/>
                    <a:pt x="26" y="27"/>
                    <a:pt x="28" y="24"/>
                  </a:cubicBezTo>
                  <a:cubicBezTo>
                    <a:pt x="30" y="22"/>
                    <a:pt x="31" y="19"/>
                    <a:pt x="31" y="15"/>
                  </a:cubicBezTo>
                  <a:cubicBezTo>
                    <a:pt x="31" y="12"/>
                    <a:pt x="30" y="9"/>
                    <a:pt x="28" y="6"/>
                  </a:cubicBezTo>
                  <a:cubicBezTo>
                    <a:pt x="26" y="4"/>
                    <a:pt x="23" y="2"/>
                    <a:pt x="21" y="1"/>
                  </a:cubicBezTo>
                  <a:cubicBezTo>
                    <a:pt x="18" y="0"/>
                    <a:pt x="15" y="0"/>
                    <a:pt x="12" y="0"/>
                  </a:cubicBezTo>
                  <a:cubicBezTo>
                    <a:pt x="10" y="1"/>
                    <a:pt x="8" y="2"/>
                    <a:pt x="6" y="3"/>
                  </a:cubicBezTo>
                  <a:cubicBezTo>
                    <a:pt x="3" y="6"/>
                    <a:pt x="1" y="9"/>
                    <a:pt x="1" y="12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1">
              <a:extLst>
                <a:ext uri="{FF2B5EF4-FFF2-40B4-BE49-F238E27FC236}">
                  <a16:creationId xmlns:a16="http://schemas.microsoft.com/office/drawing/2014/main" id="{E62F4CE3-4B4A-4E5E-82E8-3ED066E38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3500" y="930276"/>
              <a:ext cx="192088" cy="198438"/>
            </a:xfrm>
            <a:custGeom>
              <a:avLst/>
              <a:gdLst>
                <a:gd name="T0" fmla="*/ 0 w 30"/>
                <a:gd name="T1" fmla="*/ 15 h 31"/>
                <a:gd name="T2" fmla="*/ 1 w 30"/>
                <a:gd name="T3" fmla="*/ 12 h 31"/>
                <a:gd name="T4" fmla="*/ 6 w 30"/>
                <a:gd name="T5" fmla="*/ 4 h 31"/>
                <a:gd name="T6" fmla="*/ 12 w 30"/>
                <a:gd name="T7" fmla="*/ 1 h 31"/>
                <a:gd name="T8" fmla="*/ 20 w 30"/>
                <a:gd name="T9" fmla="*/ 2 h 31"/>
                <a:gd name="T10" fmla="*/ 26 w 30"/>
                <a:gd name="T11" fmla="*/ 7 h 31"/>
                <a:gd name="T12" fmla="*/ 29 w 30"/>
                <a:gd name="T13" fmla="*/ 15 h 31"/>
                <a:gd name="T14" fmla="*/ 26 w 30"/>
                <a:gd name="T15" fmla="*/ 24 h 31"/>
                <a:gd name="T16" fmla="*/ 20 w 30"/>
                <a:gd name="T17" fmla="*/ 29 h 31"/>
                <a:gd name="T18" fmla="*/ 12 w 30"/>
                <a:gd name="T19" fmla="*/ 30 h 31"/>
                <a:gd name="T20" fmla="*/ 6 w 30"/>
                <a:gd name="T21" fmla="*/ 27 h 31"/>
                <a:gd name="T22" fmla="*/ 1 w 30"/>
                <a:gd name="T23" fmla="*/ 19 h 31"/>
                <a:gd name="T24" fmla="*/ 0 w 30"/>
                <a:gd name="T25" fmla="*/ 15 h 31"/>
                <a:gd name="T26" fmla="*/ 0 w 30"/>
                <a:gd name="T27" fmla="*/ 16 h 31"/>
                <a:gd name="T28" fmla="*/ 0 w 30"/>
                <a:gd name="T29" fmla="*/ 19 h 31"/>
                <a:gd name="T30" fmla="*/ 6 w 30"/>
                <a:gd name="T31" fmla="*/ 27 h 31"/>
                <a:gd name="T32" fmla="*/ 12 w 30"/>
                <a:gd name="T33" fmla="*/ 30 h 31"/>
                <a:gd name="T34" fmla="*/ 20 w 30"/>
                <a:gd name="T35" fmla="*/ 30 h 31"/>
                <a:gd name="T36" fmla="*/ 27 w 30"/>
                <a:gd name="T37" fmla="*/ 24 h 31"/>
                <a:gd name="T38" fmla="*/ 30 w 30"/>
                <a:gd name="T39" fmla="*/ 15 h 31"/>
                <a:gd name="T40" fmla="*/ 27 w 30"/>
                <a:gd name="T41" fmla="*/ 6 h 31"/>
                <a:gd name="T42" fmla="*/ 20 w 30"/>
                <a:gd name="T43" fmla="*/ 1 h 31"/>
                <a:gd name="T44" fmla="*/ 12 w 30"/>
                <a:gd name="T45" fmla="*/ 0 h 31"/>
                <a:gd name="T46" fmla="*/ 6 w 30"/>
                <a:gd name="T47" fmla="*/ 3 h 31"/>
                <a:gd name="T48" fmla="*/ 0 w 30"/>
                <a:gd name="T49" fmla="*/ 12 h 31"/>
                <a:gd name="T50" fmla="*/ 0 w 30"/>
                <a:gd name="T51" fmla="*/ 14 h 31"/>
                <a:gd name="T52" fmla="*/ 0 w 30"/>
                <a:gd name="T53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" h="31">
                  <a:moveTo>
                    <a:pt x="0" y="15"/>
                  </a:moveTo>
                  <a:cubicBezTo>
                    <a:pt x="0" y="15"/>
                    <a:pt x="0" y="14"/>
                    <a:pt x="1" y="12"/>
                  </a:cubicBezTo>
                  <a:cubicBezTo>
                    <a:pt x="1" y="9"/>
                    <a:pt x="3" y="6"/>
                    <a:pt x="6" y="4"/>
                  </a:cubicBezTo>
                  <a:cubicBezTo>
                    <a:pt x="8" y="2"/>
                    <a:pt x="10" y="1"/>
                    <a:pt x="12" y="1"/>
                  </a:cubicBezTo>
                  <a:cubicBezTo>
                    <a:pt x="15" y="1"/>
                    <a:pt x="17" y="1"/>
                    <a:pt x="20" y="2"/>
                  </a:cubicBezTo>
                  <a:cubicBezTo>
                    <a:pt x="22" y="3"/>
                    <a:pt x="25" y="4"/>
                    <a:pt x="26" y="7"/>
                  </a:cubicBezTo>
                  <a:cubicBezTo>
                    <a:pt x="28" y="9"/>
                    <a:pt x="29" y="12"/>
                    <a:pt x="29" y="15"/>
                  </a:cubicBezTo>
                  <a:cubicBezTo>
                    <a:pt x="29" y="18"/>
                    <a:pt x="28" y="21"/>
                    <a:pt x="26" y="24"/>
                  </a:cubicBezTo>
                  <a:cubicBezTo>
                    <a:pt x="25" y="26"/>
                    <a:pt x="22" y="28"/>
                    <a:pt x="20" y="29"/>
                  </a:cubicBezTo>
                  <a:cubicBezTo>
                    <a:pt x="17" y="30"/>
                    <a:pt x="15" y="30"/>
                    <a:pt x="12" y="30"/>
                  </a:cubicBezTo>
                  <a:cubicBezTo>
                    <a:pt x="10" y="29"/>
                    <a:pt x="8" y="28"/>
                    <a:pt x="6" y="27"/>
                  </a:cubicBezTo>
                  <a:cubicBezTo>
                    <a:pt x="3" y="24"/>
                    <a:pt x="1" y="21"/>
                    <a:pt x="1" y="19"/>
                  </a:cubicBezTo>
                  <a:cubicBezTo>
                    <a:pt x="0" y="17"/>
                    <a:pt x="0" y="15"/>
                    <a:pt x="0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17"/>
                    <a:pt x="0" y="18"/>
                    <a:pt x="0" y="19"/>
                  </a:cubicBezTo>
                  <a:cubicBezTo>
                    <a:pt x="1" y="21"/>
                    <a:pt x="2" y="25"/>
                    <a:pt x="6" y="27"/>
                  </a:cubicBezTo>
                  <a:cubicBezTo>
                    <a:pt x="7" y="29"/>
                    <a:pt x="9" y="30"/>
                    <a:pt x="12" y="30"/>
                  </a:cubicBezTo>
                  <a:cubicBezTo>
                    <a:pt x="15" y="31"/>
                    <a:pt x="17" y="31"/>
                    <a:pt x="20" y="30"/>
                  </a:cubicBezTo>
                  <a:cubicBezTo>
                    <a:pt x="23" y="29"/>
                    <a:pt x="25" y="27"/>
                    <a:pt x="27" y="24"/>
                  </a:cubicBezTo>
                  <a:cubicBezTo>
                    <a:pt x="29" y="22"/>
                    <a:pt x="30" y="19"/>
                    <a:pt x="30" y="15"/>
                  </a:cubicBezTo>
                  <a:cubicBezTo>
                    <a:pt x="30" y="12"/>
                    <a:pt x="29" y="9"/>
                    <a:pt x="27" y="6"/>
                  </a:cubicBezTo>
                  <a:cubicBezTo>
                    <a:pt x="25" y="4"/>
                    <a:pt x="23" y="2"/>
                    <a:pt x="20" y="1"/>
                  </a:cubicBezTo>
                  <a:cubicBezTo>
                    <a:pt x="17" y="0"/>
                    <a:pt x="15" y="0"/>
                    <a:pt x="12" y="0"/>
                  </a:cubicBezTo>
                  <a:cubicBezTo>
                    <a:pt x="10" y="1"/>
                    <a:pt x="7" y="2"/>
                    <a:pt x="6" y="3"/>
                  </a:cubicBezTo>
                  <a:cubicBezTo>
                    <a:pt x="2" y="6"/>
                    <a:pt x="1" y="9"/>
                    <a:pt x="0" y="12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42">
              <a:extLst>
                <a:ext uri="{FF2B5EF4-FFF2-40B4-BE49-F238E27FC236}">
                  <a16:creationId xmlns:a16="http://schemas.microsoft.com/office/drawing/2014/main" id="{50E6BA34-88F0-4981-AB6B-1BC7B6364D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15588" y="1027113"/>
              <a:ext cx="31750" cy="6350"/>
            </a:xfrm>
            <a:prstGeom prst="ellipse">
              <a:avLst/>
            </a:pr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3">
              <a:extLst>
                <a:ext uri="{FF2B5EF4-FFF2-40B4-BE49-F238E27FC236}">
                  <a16:creationId xmlns:a16="http://schemas.microsoft.com/office/drawing/2014/main" id="{D3E992EE-5A99-494E-A605-E0EEC158B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33075" y="1046163"/>
              <a:ext cx="166688" cy="38100"/>
            </a:xfrm>
            <a:custGeom>
              <a:avLst/>
              <a:gdLst>
                <a:gd name="T0" fmla="*/ 0 w 26"/>
                <a:gd name="T1" fmla="*/ 0 h 6"/>
                <a:gd name="T2" fmla="*/ 13 w 26"/>
                <a:gd name="T3" fmla="*/ 4 h 6"/>
                <a:gd name="T4" fmla="*/ 26 w 26"/>
                <a:gd name="T5" fmla="*/ 6 h 6"/>
                <a:gd name="T6" fmla="*/ 13 w 26"/>
                <a:gd name="T7" fmla="*/ 3 h 6"/>
                <a:gd name="T8" fmla="*/ 0 w 2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6">
                  <a:moveTo>
                    <a:pt x="0" y="0"/>
                  </a:moveTo>
                  <a:cubicBezTo>
                    <a:pt x="0" y="1"/>
                    <a:pt x="6" y="2"/>
                    <a:pt x="13" y="4"/>
                  </a:cubicBezTo>
                  <a:cubicBezTo>
                    <a:pt x="20" y="5"/>
                    <a:pt x="26" y="6"/>
                    <a:pt x="26" y="6"/>
                  </a:cubicBezTo>
                  <a:cubicBezTo>
                    <a:pt x="26" y="5"/>
                    <a:pt x="20" y="4"/>
                    <a:pt x="13" y="3"/>
                  </a:cubicBezTo>
                  <a:cubicBezTo>
                    <a:pt x="6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44">
              <a:extLst>
                <a:ext uri="{FF2B5EF4-FFF2-40B4-BE49-F238E27FC236}">
                  <a16:creationId xmlns:a16="http://schemas.microsoft.com/office/drawing/2014/main" id="{EF001C54-D94D-4A55-AD4D-FC161CD9FC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3013" y="2119313"/>
              <a:ext cx="96838" cy="127000"/>
            </a:xfrm>
            <a:custGeom>
              <a:avLst/>
              <a:gdLst>
                <a:gd name="T0" fmla="*/ 1 w 15"/>
                <a:gd name="T1" fmla="*/ 12 h 20"/>
                <a:gd name="T2" fmla="*/ 10 w 15"/>
                <a:gd name="T3" fmla="*/ 18 h 20"/>
                <a:gd name="T4" fmla="*/ 14 w 15"/>
                <a:gd name="T5" fmla="*/ 8 h 20"/>
                <a:gd name="T6" fmla="*/ 4 w 15"/>
                <a:gd name="T7" fmla="*/ 2 h 20"/>
                <a:gd name="T8" fmla="*/ 1 w 15"/>
                <a:gd name="T9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0">
                  <a:moveTo>
                    <a:pt x="1" y="12"/>
                  </a:moveTo>
                  <a:cubicBezTo>
                    <a:pt x="3" y="17"/>
                    <a:pt x="7" y="20"/>
                    <a:pt x="10" y="18"/>
                  </a:cubicBezTo>
                  <a:cubicBezTo>
                    <a:pt x="14" y="17"/>
                    <a:pt x="15" y="13"/>
                    <a:pt x="14" y="8"/>
                  </a:cubicBezTo>
                  <a:cubicBezTo>
                    <a:pt x="12" y="3"/>
                    <a:pt x="8" y="0"/>
                    <a:pt x="4" y="2"/>
                  </a:cubicBezTo>
                  <a:cubicBezTo>
                    <a:pt x="1" y="3"/>
                    <a:pt x="0" y="8"/>
                    <a:pt x="1" y="12"/>
                  </a:cubicBezTo>
                  <a:close/>
                </a:path>
              </a:pathLst>
            </a:custGeom>
            <a:solidFill>
              <a:srgbClr val="F3F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45">
              <a:extLst>
                <a:ext uri="{FF2B5EF4-FFF2-40B4-BE49-F238E27FC236}">
                  <a16:creationId xmlns:a16="http://schemas.microsoft.com/office/drawing/2014/main" id="{FA988727-554B-401D-BE81-0258C6D91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1492251"/>
              <a:ext cx="307975" cy="1444625"/>
            </a:xfrm>
            <a:custGeom>
              <a:avLst/>
              <a:gdLst>
                <a:gd name="T0" fmla="*/ 12 w 48"/>
                <a:gd name="T1" fmla="*/ 224 h 226"/>
                <a:gd name="T2" fmla="*/ 16 w 48"/>
                <a:gd name="T3" fmla="*/ 35 h 226"/>
                <a:gd name="T4" fmla="*/ 48 w 48"/>
                <a:gd name="T5" fmla="*/ 1 h 226"/>
                <a:gd name="T6" fmla="*/ 36 w 48"/>
                <a:gd name="T7" fmla="*/ 2 h 226"/>
                <a:gd name="T8" fmla="*/ 7 w 48"/>
                <a:gd name="T9" fmla="*/ 45 h 226"/>
                <a:gd name="T10" fmla="*/ 1 w 48"/>
                <a:gd name="T11" fmla="*/ 226 h 226"/>
                <a:gd name="T12" fmla="*/ 12 w 48"/>
                <a:gd name="T13" fmla="*/ 224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226">
                  <a:moveTo>
                    <a:pt x="12" y="224"/>
                  </a:moveTo>
                  <a:cubicBezTo>
                    <a:pt x="12" y="224"/>
                    <a:pt x="10" y="48"/>
                    <a:pt x="16" y="35"/>
                  </a:cubicBezTo>
                  <a:cubicBezTo>
                    <a:pt x="16" y="35"/>
                    <a:pt x="23" y="1"/>
                    <a:pt x="48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14" y="0"/>
                    <a:pt x="7" y="45"/>
                  </a:cubicBezTo>
                  <a:cubicBezTo>
                    <a:pt x="0" y="90"/>
                    <a:pt x="1" y="226"/>
                    <a:pt x="1" y="226"/>
                  </a:cubicBezTo>
                  <a:lnTo>
                    <a:pt x="12" y="224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46">
              <a:extLst>
                <a:ext uri="{FF2B5EF4-FFF2-40B4-BE49-F238E27FC236}">
                  <a16:creationId xmlns:a16="http://schemas.microsoft.com/office/drawing/2014/main" id="{A4DD5E14-9ECF-4269-B9B4-11E0C4717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200" y="1538288"/>
              <a:ext cx="95250" cy="1423988"/>
            </a:xfrm>
            <a:custGeom>
              <a:avLst/>
              <a:gdLst>
                <a:gd name="T0" fmla="*/ 15 w 15"/>
                <a:gd name="T1" fmla="*/ 223 h 223"/>
                <a:gd name="T2" fmla="*/ 13 w 15"/>
                <a:gd name="T3" fmla="*/ 0 h 223"/>
                <a:gd name="T4" fmla="*/ 6 w 15"/>
                <a:gd name="T5" fmla="*/ 0 h 223"/>
                <a:gd name="T6" fmla="*/ 1 w 15"/>
                <a:gd name="T7" fmla="*/ 66 h 223"/>
                <a:gd name="T8" fmla="*/ 1 w 15"/>
                <a:gd name="T9" fmla="*/ 223 h 223"/>
                <a:gd name="T10" fmla="*/ 15 w 15"/>
                <a:gd name="T11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3">
                  <a:moveTo>
                    <a:pt x="15" y="223"/>
                  </a:moveTo>
                  <a:cubicBezTo>
                    <a:pt x="15" y="223"/>
                    <a:pt x="8" y="21"/>
                    <a:pt x="1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0" y="17"/>
                    <a:pt x="1" y="66"/>
                  </a:cubicBezTo>
                  <a:cubicBezTo>
                    <a:pt x="2" y="95"/>
                    <a:pt x="1" y="223"/>
                    <a:pt x="1" y="223"/>
                  </a:cubicBezTo>
                  <a:lnTo>
                    <a:pt x="15" y="223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47">
              <a:extLst>
                <a:ext uri="{FF2B5EF4-FFF2-40B4-BE49-F238E27FC236}">
                  <a16:creationId xmlns:a16="http://schemas.microsoft.com/office/drawing/2014/main" id="{C5641419-E637-4009-BEB0-53CA1289838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5775" y="2393951"/>
              <a:ext cx="436563" cy="185738"/>
            </a:xfrm>
            <a:custGeom>
              <a:avLst/>
              <a:gdLst>
                <a:gd name="T0" fmla="*/ 68 w 68"/>
                <a:gd name="T1" fmla="*/ 0 h 29"/>
                <a:gd name="T2" fmla="*/ 27 w 68"/>
                <a:gd name="T3" fmla="*/ 20 h 29"/>
                <a:gd name="T4" fmla="*/ 2 w 68"/>
                <a:gd name="T5" fmla="*/ 23 h 29"/>
                <a:gd name="T6" fmla="*/ 27 w 68"/>
                <a:gd name="T7" fmla="*/ 29 h 29"/>
                <a:gd name="T8" fmla="*/ 68 w 68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29">
                  <a:moveTo>
                    <a:pt x="68" y="0"/>
                  </a:moveTo>
                  <a:cubicBezTo>
                    <a:pt x="68" y="0"/>
                    <a:pt x="35" y="21"/>
                    <a:pt x="27" y="20"/>
                  </a:cubicBezTo>
                  <a:cubicBezTo>
                    <a:pt x="20" y="20"/>
                    <a:pt x="0" y="20"/>
                    <a:pt x="2" y="23"/>
                  </a:cubicBezTo>
                  <a:cubicBezTo>
                    <a:pt x="4" y="25"/>
                    <a:pt x="27" y="29"/>
                    <a:pt x="27" y="29"/>
                  </a:cubicBezTo>
                  <a:lnTo>
                    <a:pt x="68" y="0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48">
              <a:extLst>
                <a:ext uri="{FF2B5EF4-FFF2-40B4-BE49-F238E27FC236}">
                  <a16:creationId xmlns:a16="http://schemas.microsoft.com/office/drawing/2014/main" id="{A9AFF2A0-68B3-46F4-BC5E-4A8B9621C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8813" y="1863726"/>
              <a:ext cx="1571625" cy="1079500"/>
            </a:xfrm>
            <a:custGeom>
              <a:avLst/>
              <a:gdLst>
                <a:gd name="T0" fmla="*/ 43 w 245"/>
                <a:gd name="T1" fmla="*/ 127 h 169"/>
                <a:gd name="T2" fmla="*/ 222 w 245"/>
                <a:gd name="T3" fmla="*/ 101 h 169"/>
                <a:gd name="T4" fmla="*/ 245 w 245"/>
                <a:gd name="T5" fmla="*/ 48 h 169"/>
                <a:gd name="T6" fmla="*/ 196 w 245"/>
                <a:gd name="T7" fmla="*/ 0 h 169"/>
                <a:gd name="T8" fmla="*/ 162 w 245"/>
                <a:gd name="T9" fmla="*/ 85 h 169"/>
                <a:gd name="T10" fmla="*/ 57 w 245"/>
                <a:gd name="T11" fmla="*/ 86 h 169"/>
                <a:gd name="T12" fmla="*/ 51 w 245"/>
                <a:gd name="T13" fmla="*/ 80 h 169"/>
                <a:gd name="T14" fmla="*/ 46 w 245"/>
                <a:gd name="T15" fmla="*/ 74 h 169"/>
                <a:gd name="T16" fmla="*/ 42 w 245"/>
                <a:gd name="T17" fmla="*/ 64 h 169"/>
                <a:gd name="T18" fmla="*/ 36 w 245"/>
                <a:gd name="T19" fmla="*/ 62 h 169"/>
                <a:gd name="T20" fmla="*/ 41 w 245"/>
                <a:gd name="T21" fmla="*/ 83 h 169"/>
                <a:gd name="T22" fmla="*/ 0 w 245"/>
                <a:gd name="T23" fmla="*/ 112 h 169"/>
                <a:gd name="T24" fmla="*/ 43 w 245"/>
                <a:gd name="T25" fmla="*/ 127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5" h="169">
                  <a:moveTo>
                    <a:pt x="43" y="127"/>
                  </a:moveTo>
                  <a:cubicBezTo>
                    <a:pt x="43" y="127"/>
                    <a:pt x="200" y="169"/>
                    <a:pt x="222" y="101"/>
                  </a:cubicBezTo>
                  <a:cubicBezTo>
                    <a:pt x="244" y="29"/>
                    <a:pt x="245" y="48"/>
                    <a:pt x="245" y="48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196" y="0"/>
                    <a:pt x="169" y="83"/>
                    <a:pt x="162" y="85"/>
                  </a:cubicBezTo>
                  <a:cubicBezTo>
                    <a:pt x="121" y="96"/>
                    <a:pt x="74" y="89"/>
                    <a:pt x="57" y="86"/>
                  </a:cubicBezTo>
                  <a:cubicBezTo>
                    <a:pt x="55" y="85"/>
                    <a:pt x="53" y="83"/>
                    <a:pt x="51" y="80"/>
                  </a:cubicBezTo>
                  <a:cubicBezTo>
                    <a:pt x="49" y="79"/>
                    <a:pt x="47" y="76"/>
                    <a:pt x="46" y="74"/>
                  </a:cubicBezTo>
                  <a:cubicBezTo>
                    <a:pt x="44" y="71"/>
                    <a:pt x="42" y="66"/>
                    <a:pt x="42" y="64"/>
                  </a:cubicBezTo>
                  <a:cubicBezTo>
                    <a:pt x="41" y="60"/>
                    <a:pt x="37" y="59"/>
                    <a:pt x="36" y="62"/>
                  </a:cubicBezTo>
                  <a:cubicBezTo>
                    <a:pt x="34" y="65"/>
                    <a:pt x="35" y="74"/>
                    <a:pt x="41" y="83"/>
                  </a:cubicBezTo>
                  <a:cubicBezTo>
                    <a:pt x="41" y="83"/>
                    <a:pt x="4" y="107"/>
                    <a:pt x="0" y="112"/>
                  </a:cubicBezTo>
                  <a:lnTo>
                    <a:pt x="43" y="127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49">
              <a:extLst>
                <a:ext uri="{FF2B5EF4-FFF2-40B4-BE49-F238E27FC236}">
                  <a16:creationId xmlns:a16="http://schemas.microsoft.com/office/drawing/2014/main" id="{4348487E-1942-4B74-88EB-6F08C87349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1498601"/>
              <a:ext cx="531813" cy="1041400"/>
            </a:xfrm>
            <a:custGeom>
              <a:avLst/>
              <a:gdLst>
                <a:gd name="T0" fmla="*/ 45 w 83"/>
                <a:gd name="T1" fmla="*/ 0 h 163"/>
                <a:gd name="T2" fmla="*/ 82 w 83"/>
                <a:gd name="T3" fmla="*/ 63 h 163"/>
                <a:gd name="T4" fmla="*/ 61 w 83"/>
                <a:gd name="T5" fmla="*/ 163 h 163"/>
                <a:gd name="T6" fmla="*/ 0 w 83"/>
                <a:gd name="T7" fmla="*/ 131 h 163"/>
                <a:gd name="T8" fmla="*/ 45 w 83"/>
                <a:gd name="T9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163">
                  <a:moveTo>
                    <a:pt x="45" y="0"/>
                  </a:moveTo>
                  <a:cubicBezTo>
                    <a:pt x="45" y="0"/>
                    <a:pt x="80" y="7"/>
                    <a:pt x="82" y="63"/>
                  </a:cubicBezTo>
                  <a:cubicBezTo>
                    <a:pt x="83" y="120"/>
                    <a:pt x="61" y="163"/>
                    <a:pt x="61" y="163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45" y="0"/>
                    <a:pt x="45" y="0"/>
                    <a:pt x="45" y="0"/>
                  </a:cubicBezTo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50">
              <a:extLst>
                <a:ext uri="{FF2B5EF4-FFF2-40B4-BE49-F238E27FC236}">
                  <a16:creationId xmlns:a16="http://schemas.microsoft.com/office/drawing/2014/main" id="{50B5C945-D575-4782-B468-E08B0E2A31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2336801"/>
              <a:ext cx="390525" cy="203200"/>
            </a:xfrm>
            <a:custGeom>
              <a:avLst/>
              <a:gdLst>
                <a:gd name="T0" fmla="*/ 0 w 61"/>
                <a:gd name="T1" fmla="*/ 0 h 32"/>
                <a:gd name="T2" fmla="*/ 9 w 61"/>
                <a:gd name="T3" fmla="*/ 5 h 32"/>
                <a:gd name="T4" fmla="*/ 31 w 61"/>
                <a:gd name="T5" fmla="*/ 15 h 32"/>
                <a:gd name="T6" fmla="*/ 52 w 61"/>
                <a:gd name="T7" fmla="*/ 27 h 32"/>
                <a:gd name="T8" fmla="*/ 61 w 61"/>
                <a:gd name="T9" fmla="*/ 32 h 32"/>
                <a:gd name="T10" fmla="*/ 53 w 61"/>
                <a:gd name="T11" fmla="*/ 26 h 32"/>
                <a:gd name="T12" fmla="*/ 32 w 61"/>
                <a:gd name="T13" fmla="*/ 14 h 32"/>
                <a:gd name="T14" fmla="*/ 10 w 61"/>
                <a:gd name="T15" fmla="*/ 3 h 32"/>
                <a:gd name="T16" fmla="*/ 0 w 61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32">
                  <a:moveTo>
                    <a:pt x="0" y="0"/>
                  </a:moveTo>
                  <a:cubicBezTo>
                    <a:pt x="0" y="0"/>
                    <a:pt x="3" y="2"/>
                    <a:pt x="9" y="5"/>
                  </a:cubicBezTo>
                  <a:cubicBezTo>
                    <a:pt x="15" y="7"/>
                    <a:pt x="22" y="11"/>
                    <a:pt x="31" y="15"/>
                  </a:cubicBezTo>
                  <a:cubicBezTo>
                    <a:pt x="39" y="20"/>
                    <a:pt x="47" y="24"/>
                    <a:pt x="52" y="27"/>
                  </a:cubicBezTo>
                  <a:cubicBezTo>
                    <a:pt x="58" y="30"/>
                    <a:pt x="61" y="32"/>
                    <a:pt x="61" y="32"/>
                  </a:cubicBezTo>
                  <a:cubicBezTo>
                    <a:pt x="61" y="32"/>
                    <a:pt x="58" y="30"/>
                    <a:pt x="53" y="26"/>
                  </a:cubicBezTo>
                  <a:cubicBezTo>
                    <a:pt x="48" y="23"/>
                    <a:pt x="40" y="18"/>
                    <a:pt x="32" y="14"/>
                  </a:cubicBezTo>
                  <a:cubicBezTo>
                    <a:pt x="23" y="9"/>
                    <a:pt x="15" y="6"/>
                    <a:pt x="10" y="3"/>
                  </a:cubicBezTo>
                  <a:cubicBezTo>
                    <a:pt x="4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51">
              <a:extLst>
                <a:ext uri="{FF2B5EF4-FFF2-40B4-BE49-F238E27FC236}">
                  <a16:creationId xmlns:a16="http://schemas.microsoft.com/office/drawing/2014/main" id="{0A0E7192-18B0-4854-8E25-DC9AC1D5A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725" y="2311401"/>
              <a:ext cx="398463" cy="190500"/>
            </a:xfrm>
            <a:custGeom>
              <a:avLst/>
              <a:gdLst>
                <a:gd name="T0" fmla="*/ 0 w 62"/>
                <a:gd name="T1" fmla="*/ 0 h 30"/>
                <a:gd name="T2" fmla="*/ 10 w 62"/>
                <a:gd name="T3" fmla="*/ 4 h 30"/>
                <a:gd name="T4" fmla="*/ 32 w 62"/>
                <a:gd name="T5" fmla="*/ 14 h 30"/>
                <a:gd name="T6" fmla="*/ 53 w 62"/>
                <a:gd name="T7" fmla="*/ 25 h 30"/>
                <a:gd name="T8" fmla="*/ 61 w 62"/>
                <a:gd name="T9" fmla="*/ 30 h 30"/>
                <a:gd name="T10" fmla="*/ 53 w 62"/>
                <a:gd name="T11" fmla="*/ 24 h 30"/>
                <a:gd name="T12" fmla="*/ 32 w 62"/>
                <a:gd name="T13" fmla="*/ 12 h 30"/>
                <a:gd name="T14" fmla="*/ 10 w 62"/>
                <a:gd name="T15" fmla="*/ 3 h 30"/>
                <a:gd name="T16" fmla="*/ 0 w 62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30">
                  <a:moveTo>
                    <a:pt x="0" y="0"/>
                  </a:moveTo>
                  <a:cubicBezTo>
                    <a:pt x="0" y="0"/>
                    <a:pt x="4" y="2"/>
                    <a:pt x="10" y="4"/>
                  </a:cubicBezTo>
                  <a:cubicBezTo>
                    <a:pt x="15" y="6"/>
                    <a:pt x="23" y="10"/>
                    <a:pt x="32" y="14"/>
                  </a:cubicBezTo>
                  <a:cubicBezTo>
                    <a:pt x="40" y="18"/>
                    <a:pt x="47" y="22"/>
                    <a:pt x="53" y="25"/>
                  </a:cubicBezTo>
                  <a:cubicBezTo>
                    <a:pt x="58" y="28"/>
                    <a:pt x="61" y="30"/>
                    <a:pt x="61" y="30"/>
                  </a:cubicBezTo>
                  <a:cubicBezTo>
                    <a:pt x="62" y="29"/>
                    <a:pt x="59" y="27"/>
                    <a:pt x="53" y="24"/>
                  </a:cubicBezTo>
                  <a:cubicBezTo>
                    <a:pt x="48" y="20"/>
                    <a:pt x="41" y="16"/>
                    <a:pt x="32" y="12"/>
                  </a:cubicBezTo>
                  <a:cubicBezTo>
                    <a:pt x="24" y="8"/>
                    <a:pt x="16" y="5"/>
                    <a:pt x="10" y="3"/>
                  </a:cubicBezTo>
                  <a:cubicBezTo>
                    <a:pt x="4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52">
              <a:extLst>
                <a:ext uri="{FF2B5EF4-FFF2-40B4-BE49-F238E27FC236}">
                  <a16:creationId xmlns:a16="http://schemas.microsoft.com/office/drawing/2014/main" id="{D6C60300-46C6-48DA-91CD-2D9788FB8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9913" y="1787526"/>
              <a:ext cx="19050" cy="139700"/>
            </a:xfrm>
            <a:custGeom>
              <a:avLst/>
              <a:gdLst>
                <a:gd name="T0" fmla="*/ 2 w 3"/>
                <a:gd name="T1" fmla="*/ 21 h 22"/>
                <a:gd name="T2" fmla="*/ 3 w 3"/>
                <a:gd name="T3" fmla="*/ 11 h 22"/>
                <a:gd name="T4" fmla="*/ 0 w 3"/>
                <a:gd name="T5" fmla="*/ 1 h 22"/>
                <a:gd name="T6" fmla="*/ 1 w 3"/>
                <a:gd name="T7" fmla="*/ 11 h 22"/>
                <a:gd name="T8" fmla="*/ 2 w 3"/>
                <a:gd name="T9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2">
                  <a:moveTo>
                    <a:pt x="2" y="21"/>
                  </a:moveTo>
                  <a:cubicBezTo>
                    <a:pt x="2" y="22"/>
                    <a:pt x="3" y="17"/>
                    <a:pt x="3" y="11"/>
                  </a:cubicBezTo>
                  <a:cubicBezTo>
                    <a:pt x="2" y="5"/>
                    <a:pt x="1" y="0"/>
                    <a:pt x="0" y="1"/>
                  </a:cubicBezTo>
                  <a:cubicBezTo>
                    <a:pt x="0" y="1"/>
                    <a:pt x="0" y="5"/>
                    <a:pt x="1" y="11"/>
                  </a:cubicBezTo>
                  <a:cubicBezTo>
                    <a:pt x="1" y="17"/>
                    <a:pt x="1" y="21"/>
                    <a:pt x="2" y="2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53">
              <a:extLst>
                <a:ext uri="{FF2B5EF4-FFF2-40B4-BE49-F238E27FC236}">
                  <a16:creationId xmlns:a16="http://schemas.microsoft.com/office/drawing/2014/main" id="{E39193E3-7E56-4010-BCFE-8350B1967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1812926"/>
              <a:ext cx="160338" cy="523875"/>
            </a:xfrm>
            <a:custGeom>
              <a:avLst/>
              <a:gdLst>
                <a:gd name="T0" fmla="*/ 0 w 25"/>
                <a:gd name="T1" fmla="*/ 82 h 82"/>
                <a:gd name="T2" fmla="*/ 6 w 25"/>
                <a:gd name="T3" fmla="*/ 71 h 82"/>
                <a:gd name="T4" fmla="*/ 17 w 25"/>
                <a:gd name="T5" fmla="*/ 42 h 82"/>
                <a:gd name="T6" fmla="*/ 23 w 25"/>
                <a:gd name="T7" fmla="*/ 12 h 82"/>
                <a:gd name="T8" fmla="*/ 24 w 25"/>
                <a:gd name="T9" fmla="*/ 0 h 82"/>
                <a:gd name="T10" fmla="*/ 22 w 25"/>
                <a:gd name="T11" fmla="*/ 12 h 82"/>
                <a:gd name="T12" fmla="*/ 15 w 25"/>
                <a:gd name="T13" fmla="*/ 42 h 82"/>
                <a:gd name="T14" fmla="*/ 4 w 25"/>
                <a:gd name="T15" fmla="*/ 70 h 82"/>
                <a:gd name="T16" fmla="*/ 0 w 25"/>
                <a:gd name="T1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82">
                  <a:moveTo>
                    <a:pt x="0" y="82"/>
                  </a:moveTo>
                  <a:cubicBezTo>
                    <a:pt x="0" y="82"/>
                    <a:pt x="3" y="78"/>
                    <a:pt x="6" y="71"/>
                  </a:cubicBezTo>
                  <a:cubicBezTo>
                    <a:pt x="9" y="64"/>
                    <a:pt x="13" y="54"/>
                    <a:pt x="17" y="42"/>
                  </a:cubicBezTo>
                  <a:cubicBezTo>
                    <a:pt x="20" y="31"/>
                    <a:pt x="22" y="20"/>
                    <a:pt x="23" y="12"/>
                  </a:cubicBezTo>
                  <a:cubicBezTo>
                    <a:pt x="24" y="5"/>
                    <a:pt x="25" y="0"/>
                    <a:pt x="24" y="0"/>
                  </a:cubicBezTo>
                  <a:cubicBezTo>
                    <a:pt x="24" y="0"/>
                    <a:pt x="23" y="4"/>
                    <a:pt x="22" y="12"/>
                  </a:cubicBezTo>
                  <a:cubicBezTo>
                    <a:pt x="20" y="20"/>
                    <a:pt x="18" y="30"/>
                    <a:pt x="15" y="42"/>
                  </a:cubicBezTo>
                  <a:cubicBezTo>
                    <a:pt x="11" y="53"/>
                    <a:pt x="7" y="63"/>
                    <a:pt x="4" y="70"/>
                  </a:cubicBezTo>
                  <a:cubicBezTo>
                    <a:pt x="2" y="77"/>
                    <a:pt x="0" y="82"/>
                    <a:pt x="0" y="82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" name="Freeform 739">
            <a:extLst>
              <a:ext uri="{FF2B5EF4-FFF2-40B4-BE49-F238E27FC236}">
                <a16:creationId xmlns:a16="http://schemas.microsoft.com/office/drawing/2014/main" id="{F87AFA1E-CCBD-4517-93A1-E9A808B0E5A7}"/>
              </a:ext>
            </a:extLst>
          </p:cNvPr>
          <p:cNvSpPr>
            <a:spLocks/>
          </p:cNvSpPr>
          <p:nvPr/>
        </p:nvSpPr>
        <p:spPr bwMode="auto">
          <a:xfrm>
            <a:off x="8897859" y="1717526"/>
            <a:ext cx="277813" cy="287338"/>
          </a:xfrm>
          <a:custGeom>
            <a:avLst/>
            <a:gdLst>
              <a:gd name="T0" fmla="*/ 758 w 873"/>
              <a:gd name="T1" fmla="*/ 603 h 903"/>
              <a:gd name="T2" fmla="*/ 696 w 873"/>
              <a:gd name="T3" fmla="*/ 531 h 903"/>
              <a:gd name="T4" fmla="*/ 631 w 873"/>
              <a:gd name="T5" fmla="*/ 496 h 903"/>
              <a:gd name="T6" fmla="*/ 556 w 873"/>
              <a:gd name="T7" fmla="*/ 481 h 903"/>
              <a:gd name="T8" fmla="*/ 478 w 873"/>
              <a:gd name="T9" fmla="*/ 202 h 903"/>
              <a:gd name="T10" fmla="*/ 521 w 873"/>
              <a:gd name="T11" fmla="*/ 167 h 903"/>
              <a:gd name="T12" fmla="*/ 542 w 873"/>
              <a:gd name="T13" fmla="*/ 115 h 903"/>
              <a:gd name="T14" fmla="*/ 529 w 873"/>
              <a:gd name="T15" fmla="*/ 55 h 903"/>
              <a:gd name="T16" fmla="*/ 487 w 873"/>
              <a:gd name="T17" fmla="*/ 13 h 903"/>
              <a:gd name="T18" fmla="*/ 426 w 873"/>
              <a:gd name="T19" fmla="*/ 0 h 903"/>
              <a:gd name="T20" fmla="*/ 370 w 873"/>
              <a:gd name="T21" fmla="*/ 23 h 903"/>
              <a:gd name="T22" fmla="*/ 336 w 873"/>
              <a:gd name="T23" fmla="*/ 74 h 903"/>
              <a:gd name="T24" fmla="*/ 335 w 873"/>
              <a:gd name="T25" fmla="*/ 134 h 903"/>
              <a:gd name="T26" fmla="*/ 364 w 873"/>
              <a:gd name="T27" fmla="*/ 181 h 903"/>
              <a:gd name="T28" fmla="*/ 412 w 873"/>
              <a:gd name="T29" fmla="*/ 208 h 903"/>
              <a:gd name="T30" fmla="*/ 260 w 873"/>
              <a:gd name="T31" fmla="*/ 490 h 903"/>
              <a:gd name="T32" fmla="*/ 148 w 873"/>
              <a:gd name="T33" fmla="*/ 555 h 903"/>
              <a:gd name="T34" fmla="*/ 101 w 873"/>
              <a:gd name="T35" fmla="*/ 638 h 903"/>
              <a:gd name="T36" fmla="*/ 82 w 873"/>
              <a:gd name="T37" fmla="*/ 695 h 903"/>
              <a:gd name="T38" fmla="*/ 32 w 873"/>
              <a:gd name="T39" fmla="*/ 722 h 903"/>
              <a:gd name="T40" fmla="*/ 4 w 873"/>
              <a:gd name="T41" fmla="*/ 769 h 903"/>
              <a:gd name="T42" fmla="*/ 4 w 873"/>
              <a:gd name="T43" fmla="*/ 829 h 903"/>
              <a:gd name="T44" fmla="*/ 39 w 873"/>
              <a:gd name="T45" fmla="*/ 879 h 903"/>
              <a:gd name="T46" fmla="*/ 94 w 873"/>
              <a:gd name="T47" fmla="*/ 902 h 903"/>
              <a:gd name="T48" fmla="*/ 156 w 873"/>
              <a:gd name="T49" fmla="*/ 890 h 903"/>
              <a:gd name="T50" fmla="*/ 198 w 873"/>
              <a:gd name="T51" fmla="*/ 848 h 903"/>
              <a:gd name="T52" fmla="*/ 210 w 873"/>
              <a:gd name="T53" fmla="*/ 788 h 903"/>
              <a:gd name="T54" fmla="*/ 191 w 873"/>
              <a:gd name="T55" fmla="*/ 736 h 903"/>
              <a:gd name="T56" fmla="*/ 148 w 873"/>
              <a:gd name="T57" fmla="*/ 701 h 903"/>
              <a:gd name="T58" fmla="*/ 133 w 873"/>
              <a:gd name="T59" fmla="*/ 637 h 903"/>
              <a:gd name="T60" fmla="*/ 198 w 873"/>
              <a:gd name="T61" fmla="*/ 551 h 903"/>
              <a:gd name="T62" fmla="*/ 309 w 873"/>
              <a:gd name="T63" fmla="*/ 513 h 903"/>
              <a:gd name="T64" fmla="*/ 395 w 873"/>
              <a:gd name="T65" fmla="*/ 701 h 903"/>
              <a:gd name="T66" fmla="*/ 352 w 873"/>
              <a:gd name="T67" fmla="*/ 736 h 903"/>
              <a:gd name="T68" fmla="*/ 331 w 873"/>
              <a:gd name="T69" fmla="*/ 788 h 903"/>
              <a:gd name="T70" fmla="*/ 344 w 873"/>
              <a:gd name="T71" fmla="*/ 848 h 903"/>
              <a:gd name="T72" fmla="*/ 386 w 873"/>
              <a:gd name="T73" fmla="*/ 890 h 903"/>
              <a:gd name="T74" fmla="*/ 447 w 873"/>
              <a:gd name="T75" fmla="*/ 902 h 903"/>
              <a:gd name="T76" fmla="*/ 503 w 873"/>
              <a:gd name="T77" fmla="*/ 879 h 903"/>
              <a:gd name="T78" fmla="*/ 537 w 873"/>
              <a:gd name="T79" fmla="*/ 829 h 903"/>
              <a:gd name="T80" fmla="*/ 538 w 873"/>
              <a:gd name="T81" fmla="*/ 769 h 903"/>
              <a:gd name="T82" fmla="*/ 509 w 873"/>
              <a:gd name="T83" fmla="*/ 722 h 903"/>
              <a:gd name="T84" fmla="*/ 461 w 873"/>
              <a:gd name="T85" fmla="*/ 695 h 903"/>
              <a:gd name="T86" fmla="*/ 577 w 873"/>
              <a:gd name="T87" fmla="*/ 514 h 903"/>
              <a:gd name="T88" fmla="*/ 640 w 873"/>
              <a:gd name="T89" fmla="*/ 533 h 903"/>
              <a:gd name="T90" fmla="*/ 694 w 873"/>
              <a:gd name="T91" fmla="*/ 568 h 903"/>
              <a:gd name="T92" fmla="*/ 744 w 873"/>
              <a:gd name="T93" fmla="*/ 646 h 903"/>
              <a:gd name="T94" fmla="*/ 725 w 873"/>
              <a:gd name="T95" fmla="*/ 701 h 903"/>
              <a:gd name="T96" fmla="*/ 682 w 873"/>
              <a:gd name="T97" fmla="*/ 736 h 903"/>
              <a:gd name="T98" fmla="*/ 663 w 873"/>
              <a:gd name="T99" fmla="*/ 788 h 903"/>
              <a:gd name="T100" fmla="*/ 675 w 873"/>
              <a:gd name="T101" fmla="*/ 848 h 903"/>
              <a:gd name="T102" fmla="*/ 718 w 873"/>
              <a:gd name="T103" fmla="*/ 890 h 903"/>
              <a:gd name="T104" fmla="*/ 779 w 873"/>
              <a:gd name="T105" fmla="*/ 902 h 903"/>
              <a:gd name="T106" fmla="*/ 834 w 873"/>
              <a:gd name="T107" fmla="*/ 879 h 903"/>
              <a:gd name="T108" fmla="*/ 869 w 873"/>
              <a:gd name="T109" fmla="*/ 829 h 903"/>
              <a:gd name="T110" fmla="*/ 869 w 873"/>
              <a:gd name="T111" fmla="*/ 769 h 903"/>
              <a:gd name="T112" fmla="*/ 841 w 873"/>
              <a:gd name="T113" fmla="*/ 722 h 903"/>
              <a:gd name="T114" fmla="*/ 792 w 873"/>
              <a:gd name="T115" fmla="*/ 695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73" h="903">
                <a:moveTo>
                  <a:pt x="783" y="694"/>
                </a:moveTo>
                <a:lnTo>
                  <a:pt x="781" y="675"/>
                </a:lnTo>
                <a:lnTo>
                  <a:pt x="778" y="655"/>
                </a:lnTo>
                <a:lnTo>
                  <a:pt x="773" y="637"/>
                </a:lnTo>
                <a:lnTo>
                  <a:pt x="767" y="620"/>
                </a:lnTo>
                <a:lnTo>
                  <a:pt x="758" y="603"/>
                </a:lnTo>
                <a:lnTo>
                  <a:pt x="749" y="586"/>
                </a:lnTo>
                <a:lnTo>
                  <a:pt x="737" y="570"/>
                </a:lnTo>
                <a:lnTo>
                  <a:pt x="724" y="555"/>
                </a:lnTo>
                <a:lnTo>
                  <a:pt x="715" y="547"/>
                </a:lnTo>
                <a:lnTo>
                  <a:pt x="706" y="538"/>
                </a:lnTo>
                <a:lnTo>
                  <a:pt x="696" y="531"/>
                </a:lnTo>
                <a:lnTo>
                  <a:pt x="686" y="523"/>
                </a:lnTo>
                <a:lnTo>
                  <a:pt x="676" y="517"/>
                </a:lnTo>
                <a:lnTo>
                  <a:pt x="665" y="512"/>
                </a:lnTo>
                <a:lnTo>
                  <a:pt x="654" y="505"/>
                </a:lnTo>
                <a:lnTo>
                  <a:pt x="642" y="501"/>
                </a:lnTo>
                <a:lnTo>
                  <a:pt x="631" y="496"/>
                </a:lnTo>
                <a:lnTo>
                  <a:pt x="619" y="492"/>
                </a:lnTo>
                <a:lnTo>
                  <a:pt x="607" y="489"/>
                </a:lnTo>
                <a:lnTo>
                  <a:pt x="594" y="487"/>
                </a:lnTo>
                <a:lnTo>
                  <a:pt x="581" y="485"/>
                </a:lnTo>
                <a:lnTo>
                  <a:pt x="568" y="483"/>
                </a:lnTo>
                <a:lnTo>
                  <a:pt x="556" y="481"/>
                </a:lnTo>
                <a:lnTo>
                  <a:pt x="542" y="481"/>
                </a:lnTo>
                <a:lnTo>
                  <a:pt x="452" y="481"/>
                </a:lnTo>
                <a:lnTo>
                  <a:pt x="452" y="209"/>
                </a:lnTo>
                <a:lnTo>
                  <a:pt x="461" y="208"/>
                </a:lnTo>
                <a:lnTo>
                  <a:pt x="470" y="205"/>
                </a:lnTo>
                <a:lnTo>
                  <a:pt x="478" y="202"/>
                </a:lnTo>
                <a:lnTo>
                  <a:pt x="487" y="197"/>
                </a:lnTo>
                <a:lnTo>
                  <a:pt x="495" y="193"/>
                </a:lnTo>
                <a:lnTo>
                  <a:pt x="503" y="188"/>
                </a:lnTo>
                <a:lnTo>
                  <a:pt x="509" y="181"/>
                </a:lnTo>
                <a:lnTo>
                  <a:pt x="516" y="175"/>
                </a:lnTo>
                <a:lnTo>
                  <a:pt x="521" y="167"/>
                </a:lnTo>
                <a:lnTo>
                  <a:pt x="527" y="160"/>
                </a:lnTo>
                <a:lnTo>
                  <a:pt x="531" y="151"/>
                </a:lnTo>
                <a:lnTo>
                  <a:pt x="535" y="143"/>
                </a:lnTo>
                <a:lnTo>
                  <a:pt x="538" y="134"/>
                </a:lnTo>
                <a:lnTo>
                  <a:pt x="541" y="124"/>
                </a:lnTo>
                <a:lnTo>
                  <a:pt x="542" y="115"/>
                </a:lnTo>
                <a:lnTo>
                  <a:pt x="542" y="105"/>
                </a:lnTo>
                <a:lnTo>
                  <a:pt x="542" y="94"/>
                </a:lnTo>
                <a:lnTo>
                  <a:pt x="539" y="84"/>
                </a:lnTo>
                <a:lnTo>
                  <a:pt x="537" y="74"/>
                </a:lnTo>
                <a:lnTo>
                  <a:pt x="534" y="64"/>
                </a:lnTo>
                <a:lnTo>
                  <a:pt x="529" y="55"/>
                </a:lnTo>
                <a:lnTo>
                  <a:pt x="523" y="46"/>
                </a:lnTo>
                <a:lnTo>
                  <a:pt x="518" y="38"/>
                </a:lnTo>
                <a:lnTo>
                  <a:pt x="511" y="31"/>
                </a:lnTo>
                <a:lnTo>
                  <a:pt x="503" y="23"/>
                </a:lnTo>
                <a:lnTo>
                  <a:pt x="495" y="18"/>
                </a:lnTo>
                <a:lnTo>
                  <a:pt x="487" y="13"/>
                </a:lnTo>
                <a:lnTo>
                  <a:pt x="477" y="8"/>
                </a:lnTo>
                <a:lnTo>
                  <a:pt x="468" y="4"/>
                </a:lnTo>
                <a:lnTo>
                  <a:pt x="458" y="2"/>
                </a:lnTo>
                <a:lnTo>
                  <a:pt x="447" y="0"/>
                </a:lnTo>
                <a:lnTo>
                  <a:pt x="437" y="0"/>
                </a:lnTo>
                <a:lnTo>
                  <a:pt x="426" y="0"/>
                </a:lnTo>
                <a:lnTo>
                  <a:pt x="415" y="2"/>
                </a:lnTo>
                <a:lnTo>
                  <a:pt x="405" y="4"/>
                </a:lnTo>
                <a:lnTo>
                  <a:pt x="396" y="8"/>
                </a:lnTo>
                <a:lnTo>
                  <a:pt x="386" y="13"/>
                </a:lnTo>
                <a:lnTo>
                  <a:pt x="378" y="18"/>
                </a:lnTo>
                <a:lnTo>
                  <a:pt x="370" y="23"/>
                </a:lnTo>
                <a:lnTo>
                  <a:pt x="363" y="31"/>
                </a:lnTo>
                <a:lnTo>
                  <a:pt x="355" y="38"/>
                </a:lnTo>
                <a:lnTo>
                  <a:pt x="350" y="46"/>
                </a:lnTo>
                <a:lnTo>
                  <a:pt x="344" y="55"/>
                </a:lnTo>
                <a:lnTo>
                  <a:pt x="340" y="64"/>
                </a:lnTo>
                <a:lnTo>
                  <a:pt x="336" y="74"/>
                </a:lnTo>
                <a:lnTo>
                  <a:pt x="334" y="84"/>
                </a:lnTo>
                <a:lnTo>
                  <a:pt x="331" y="94"/>
                </a:lnTo>
                <a:lnTo>
                  <a:pt x="331" y="105"/>
                </a:lnTo>
                <a:lnTo>
                  <a:pt x="331" y="115"/>
                </a:lnTo>
                <a:lnTo>
                  <a:pt x="332" y="124"/>
                </a:lnTo>
                <a:lnTo>
                  <a:pt x="335" y="134"/>
                </a:lnTo>
                <a:lnTo>
                  <a:pt x="338" y="143"/>
                </a:lnTo>
                <a:lnTo>
                  <a:pt x="342" y="151"/>
                </a:lnTo>
                <a:lnTo>
                  <a:pt x="346" y="160"/>
                </a:lnTo>
                <a:lnTo>
                  <a:pt x="352" y="167"/>
                </a:lnTo>
                <a:lnTo>
                  <a:pt x="357" y="175"/>
                </a:lnTo>
                <a:lnTo>
                  <a:pt x="364" y="181"/>
                </a:lnTo>
                <a:lnTo>
                  <a:pt x="370" y="188"/>
                </a:lnTo>
                <a:lnTo>
                  <a:pt x="378" y="193"/>
                </a:lnTo>
                <a:lnTo>
                  <a:pt x="386" y="197"/>
                </a:lnTo>
                <a:lnTo>
                  <a:pt x="395" y="202"/>
                </a:lnTo>
                <a:lnTo>
                  <a:pt x="403" y="205"/>
                </a:lnTo>
                <a:lnTo>
                  <a:pt x="412" y="208"/>
                </a:lnTo>
                <a:lnTo>
                  <a:pt x="421" y="209"/>
                </a:lnTo>
                <a:lnTo>
                  <a:pt x="421" y="481"/>
                </a:lnTo>
                <a:lnTo>
                  <a:pt x="331" y="481"/>
                </a:lnTo>
                <a:lnTo>
                  <a:pt x="307" y="483"/>
                </a:lnTo>
                <a:lnTo>
                  <a:pt x="282" y="486"/>
                </a:lnTo>
                <a:lnTo>
                  <a:pt x="260" y="490"/>
                </a:lnTo>
                <a:lnTo>
                  <a:pt x="238" y="498"/>
                </a:lnTo>
                <a:lnTo>
                  <a:pt x="218" y="506"/>
                </a:lnTo>
                <a:lnTo>
                  <a:pt x="197" y="516"/>
                </a:lnTo>
                <a:lnTo>
                  <a:pt x="180" y="528"/>
                </a:lnTo>
                <a:lnTo>
                  <a:pt x="163" y="542"/>
                </a:lnTo>
                <a:lnTo>
                  <a:pt x="148" y="555"/>
                </a:lnTo>
                <a:lnTo>
                  <a:pt x="134" y="572"/>
                </a:lnTo>
                <a:lnTo>
                  <a:pt x="122" y="590"/>
                </a:lnTo>
                <a:lnTo>
                  <a:pt x="113" y="608"/>
                </a:lnTo>
                <a:lnTo>
                  <a:pt x="108" y="618"/>
                </a:lnTo>
                <a:lnTo>
                  <a:pt x="104" y="628"/>
                </a:lnTo>
                <a:lnTo>
                  <a:pt x="101" y="638"/>
                </a:lnTo>
                <a:lnTo>
                  <a:pt x="98" y="649"/>
                </a:lnTo>
                <a:lnTo>
                  <a:pt x="95" y="660"/>
                </a:lnTo>
                <a:lnTo>
                  <a:pt x="93" y="670"/>
                </a:lnTo>
                <a:lnTo>
                  <a:pt x="92" y="682"/>
                </a:lnTo>
                <a:lnTo>
                  <a:pt x="91" y="693"/>
                </a:lnTo>
                <a:lnTo>
                  <a:pt x="82" y="695"/>
                </a:lnTo>
                <a:lnTo>
                  <a:pt x="72" y="698"/>
                </a:lnTo>
                <a:lnTo>
                  <a:pt x="63" y="701"/>
                </a:lnTo>
                <a:lnTo>
                  <a:pt x="55" y="705"/>
                </a:lnTo>
                <a:lnTo>
                  <a:pt x="47" y="710"/>
                </a:lnTo>
                <a:lnTo>
                  <a:pt x="40" y="715"/>
                </a:lnTo>
                <a:lnTo>
                  <a:pt x="32" y="722"/>
                </a:lnTo>
                <a:lnTo>
                  <a:pt x="26" y="728"/>
                </a:lnTo>
                <a:lnTo>
                  <a:pt x="20" y="736"/>
                </a:lnTo>
                <a:lnTo>
                  <a:pt x="15" y="743"/>
                </a:lnTo>
                <a:lnTo>
                  <a:pt x="11" y="752"/>
                </a:lnTo>
                <a:lnTo>
                  <a:pt x="8" y="760"/>
                </a:lnTo>
                <a:lnTo>
                  <a:pt x="4" y="769"/>
                </a:lnTo>
                <a:lnTo>
                  <a:pt x="2" y="779"/>
                </a:lnTo>
                <a:lnTo>
                  <a:pt x="0" y="788"/>
                </a:lnTo>
                <a:lnTo>
                  <a:pt x="0" y="798"/>
                </a:lnTo>
                <a:lnTo>
                  <a:pt x="1" y="809"/>
                </a:lnTo>
                <a:lnTo>
                  <a:pt x="2" y="819"/>
                </a:lnTo>
                <a:lnTo>
                  <a:pt x="4" y="829"/>
                </a:lnTo>
                <a:lnTo>
                  <a:pt x="9" y="839"/>
                </a:lnTo>
                <a:lnTo>
                  <a:pt x="13" y="848"/>
                </a:lnTo>
                <a:lnTo>
                  <a:pt x="18" y="857"/>
                </a:lnTo>
                <a:lnTo>
                  <a:pt x="24" y="864"/>
                </a:lnTo>
                <a:lnTo>
                  <a:pt x="31" y="872"/>
                </a:lnTo>
                <a:lnTo>
                  <a:pt x="39" y="879"/>
                </a:lnTo>
                <a:lnTo>
                  <a:pt x="46" y="885"/>
                </a:lnTo>
                <a:lnTo>
                  <a:pt x="55" y="890"/>
                </a:lnTo>
                <a:lnTo>
                  <a:pt x="64" y="894"/>
                </a:lnTo>
                <a:lnTo>
                  <a:pt x="74" y="899"/>
                </a:lnTo>
                <a:lnTo>
                  <a:pt x="84" y="901"/>
                </a:lnTo>
                <a:lnTo>
                  <a:pt x="94" y="902"/>
                </a:lnTo>
                <a:lnTo>
                  <a:pt x="105" y="903"/>
                </a:lnTo>
                <a:lnTo>
                  <a:pt x="116" y="902"/>
                </a:lnTo>
                <a:lnTo>
                  <a:pt x="127" y="901"/>
                </a:lnTo>
                <a:lnTo>
                  <a:pt x="136" y="899"/>
                </a:lnTo>
                <a:lnTo>
                  <a:pt x="146" y="894"/>
                </a:lnTo>
                <a:lnTo>
                  <a:pt x="156" y="890"/>
                </a:lnTo>
                <a:lnTo>
                  <a:pt x="164" y="885"/>
                </a:lnTo>
                <a:lnTo>
                  <a:pt x="173" y="879"/>
                </a:lnTo>
                <a:lnTo>
                  <a:pt x="180" y="872"/>
                </a:lnTo>
                <a:lnTo>
                  <a:pt x="187" y="864"/>
                </a:lnTo>
                <a:lnTo>
                  <a:pt x="193" y="857"/>
                </a:lnTo>
                <a:lnTo>
                  <a:pt x="198" y="848"/>
                </a:lnTo>
                <a:lnTo>
                  <a:pt x="203" y="839"/>
                </a:lnTo>
                <a:lnTo>
                  <a:pt x="206" y="829"/>
                </a:lnTo>
                <a:lnTo>
                  <a:pt x="208" y="819"/>
                </a:lnTo>
                <a:lnTo>
                  <a:pt x="210" y="809"/>
                </a:lnTo>
                <a:lnTo>
                  <a:pt x="210" y="798"/>
                </a:lnTo>
                <a:lnTo>
                  <a:pt x="210" y="788"/>
                </a:lnTo>
                <a:lnTo>
                  <a:pt x="209" y="779"/>
                </a:lnTo>
                <a:lnTo>
                  <a:pt x="207" y="769"/>
                </a:lnTo>
                <a:lnTo>
                  <a:pt x="204" y="760"/>
                </a:lnTo>
                <a:lnTo>
                  <a:pt x="201" y="752"/>
                </a:lnTo>
                <a:lnTo>
                  <a:pt x="195" y="743"/>
                </a:lnTo>
                <a:lnTo>
                  <a:pt x="191" y="736"/>
                </a:lnTo>
                <a:lnTo>
                  <a:pt x="184" y="728"/>
                </a:lnTo>
                <a:lnTo>
                  <a:pt x="179" y="722"/>
                </a:lnTo>
                <a:lnTo>
                  <a:pt x="172" y="716"/>
                </a:lnTo>
                <a:lnTo>
                  <a:pt x="164" y="710"/>
                </a:lnTo>
                <a:lnTo>
                  <a:pt x="157" y="706"/>
                </a:lnTo>
                <a:lnTo>
                  <a:pt x="148" y="701"/>
                </a:lnTo>
                <a:lnTo>
                  <a:pt x="139" y="698"/>
                </a:lnTo>
                <a:lnTo>
                  <a:pt x="131" y="695"/>
                </a:lnTo>
                <a:lnTo>
                  <a:pt x="121" y="694"/>
                </a:lnTo>
                <a:lnTo>
                  <a:pt x="123" y="673"/>
                </a:lnTo>
                <a:lnTo>
                  <a:pt x="128" y="655"/>
                </a:lnTo>
                <a:lnTo>
                  <a:pt x="133" y="637"/>
                </a:lnTo>
                <a:lnTo>
                  <a:pt x="140" y="620"/>
                </a:lnTo>
                <a:lnTo>
                  <a:pt x="149" y="604"/>
                </a:lnTo>
                <a:lnTo>
                  <a:pt x="159" y="589"/>
                </a:lnTo>
                <a:lnTo>
                  <a:pt x="171" y="575"/>
                </a:lnTo>
                <a:lnTo>
                  <a:pt x="184" y="562"/>
                </a:lnTo>
                <a:lnTo>
                  <a:pt x="198" y="551"/>
                </a:lnTo>
                <a:lnTo>
                  <a:pt x="215" y="540"/>
                </a:lnTo>
                <a:lnTo>
                  <a:pt x="231" y="532"/>
                </a:lnTo>
                <a:lnTo>
                  <a:pt x="249" y="524"/>
                </a:lnTo>
                <a:lnTo>
                  <a:pt x="268" y="519"/>
                </a:lnTo>
                <a:lnTo>
                  <a:pt x="289" y="515"/>
                </a:lnTo>
                <a:lnTo>
                  <a:pt x="309" y="513"/>
                </a:lnTo>
                <a:lnTo>
                  <a:pt x="331" y="512"/>
                </a:lnTo>
                <a:lnTo>
                  <a:pt x="421" y="512"/>
                </a:lnTo>
                <a:lnTo>
                  <a:pt x="421" y="694"/>
                </a:lnTo>
                <a:lnTo>
                  <a:pt x="412" y="695"/>
                </a:lnTo>
                <a:lnTo>
                  <a:pt x="403" y="698"/>
                </a:lnTo>
                <a:lnTo>
                  <a:pt x="395" y="701"/>
                </a:lnTo>
                <a:lnTo>
                  <a:pt x="386" y="706"/>
                </a:lnTo>
                <a:lnTo>
                  <a:pt x="378" y="710"/>
                </a:lnTo>
                <a:lnTo>
                  <a:pt x="370" y="715"/>
                </a:lnTo>
                <a:lnTo>
                  <a:pt x="364" y="722"/>
                </a:lnTo>
                <a:lnTo>
                  <a:pt x="357" y="728"/>
                </a:lnTo>
                <a:lnTo>
                  <a:pt x="352" y="736"/>
                </a:lnTo>
                <a:lnTo>
                  <a:pt x="346" y="743"/>
                </a:lnTo>
                <a:lnTo>
                  <a:pt x="342" y="752"/>
                </a:lnTo>
                <a:lnTo>
                  <a:pt x="338" y="760"/>
                </a:lnTo>
                <a:lnTo>
                  <a:pt x="335" y="769"/>
                </a:lnTo>
                <a:lnTo>
                  <a:pt x="332" y="779"/>
                </a:lnTo>
                <a:lnTo>
                  <a:pt x="331" y="788"/>
                </a:lnTo>
                <a:lnTo>
                  <a:pt x="331" y="798"/>
                </a:lnTo>
                <a:lnTo>
                  <a:pt x="331" y="809"/>
                </a:lnTo>
                <a:lnTo>
                  <a:pt x="334" y="819"/>
                </a:lnTo>
                <a:lnTo>
                  <a:pt x="336" y="829"/>
                </a:lnTo>
                <a:lnTo>
                  <a:pt x="340" y="839"/>
                </a:lnTo>
                <a:lnTo>
                  <a:pt x="344" y="848"/>
                </a:lnTo>
                <a:lnTo>
                  <a:pt x="350" y="857"/>
                </a:lnTo>
                <a:lnTo>
                  <a:pt x="355" y="864"/>
                </a:lnTo>
                <a:lnTo>
                  <a:pt x="363" y="872"/>
                </a:lnTo>
                <a:lnTo>
                  <a:pt x="370" y="879"/>
                </a:lnTo>
                <a:lnTo>
                  <a:pt x="378" y="885"/>
                </a:lnTo>
                <a:lnTo>
                  <a:pt x="386" y="890"/>
                </a:lnTo>
                <a:lnTo>
                  <a:pt x="396" y="894"/>
                </a:lnTo>
                <a:lnTo>
                  <a:pt x="405" y="899"/>
                </a:lnTo>
                <a:lnTo>
                  <a:pt x="415" y="901"/>
                </a:lnTo>
                <a:lnTo>
                  <a:pt x="426" y="902"/>
                </a:lnTo>
                <a:lnTo>
                  <a:pt x="437" y="903"/>
                </a:lnTo>
                <a:lnTo>
                  <a:pt x="447" y="902"/>
                </a:lnTo>
                <a:lnTo>
                  <a:pt x="458" y="901"/>
                </a:lnTo>
                <a:lnTo>
                  <a:pt x="468" y="899"/>
                </a:lnTo>
                <a:lnTo>
                  <a:pt x="477" y="894"/>
                </a:lnTo>
                <a:lnTo>
                  <a:pt x="487" y="890"/>
                </a:lnTo>
                <a:lnTo>
                  <a:pt x="495" y="885"/>
                </a:lnTo>
                <a:lnTo>
                  <a:pt x="503" y="879"/>
                </a:lnTo>
                <a:lnTo>
                  <a:pt x="511" y="872"/>
                </a:lnTo>
                <a:lnTo>
                  <a:pt x="518" y="864"/>
                </a:lnTo>
                <a:lnTo>
                  <a:pt x="523" y="857"/>
                </a:lnTo>
                <a:lnTo>
                  <a:pt x="529" y="848"/>
                </a:lnTo>
                <a:lnTo>
                  <a:pt x="534" y="839"/>
                </a:lnTo>
                <a:lnTo>
                  <a:pt x="537" y="829"/>
                </a:lnTo>
                <a:lnTo>
                  <a:pt x="539" y="819"/>
                </a:lnTo>
                <a:lnTo>
                  <a:pt x="542" y="809"/>
                </a:lnTo>
                <a:lnTo>
                  <a:pt x="542" y="798"/>
                </a:lnTo>
                <a:lnTo>
                  <a:pt x="542" y="788"/>
                </a:lnTo>
                <a:lnTo>
                  <a:pt x="541" y="779"/>
                </a:lnTo>
                <a:lnTo>
                  <a:pt x="538" y="769"/>
                </a:lnTo>
                <a:lnTo>
                  <a:pt x="535" y="760"/>
                </a:lnTo>
                <a:lnTo>
                  <a:pt x="531" y="752"/>
                </a:lnTo>
                <a:lnTo>
                  <a:pt x="527" y="743"/>
                </a:lnTo>
                <a:lnTo>
                  <a:pt x="521" y="736"/>
                </a:lnTo>
                <a:lnTo>
                  <a:pt x="516" y="728"/>
                </a:lnTo>
                <a:lnTo>
                  <a:pt x="509" y="722"/>
                </a:lnTo>
                <a:lnTo>
                  <a:pt x="503" y="715"/>
                </a:lnTo>
                <a:lnTo>
                  <a:pt x="495" y="710"/>
                </a:lnTo>
                <a:lnTo>
                  <a:pt x="487" y="706"/>
                </a:lnTo>
                <a:lnTo>
                  <a:pt x="478" y="701"/>
                </a:lnTo>
                <a:lnTo>
                  <a:pt x="470" y="698"/>
                </a:lnTo>
                <a:lnTo>
                  <a:pt x="461" y="695"/>
                </a:lnTo>
                <a:lnTo>
                  <a:pt x="452" y="694"/>
                </a:lnTo>
                <a:lnTo>
                  <a:pt x="452" y="512"/>
                </a:lnTo>
                <a:lnTo>
                  <a:pt x="542" y="512"/>
                </a:lnTo>
                <a:lnTo>
                  <a:pt x="553" y="512"/>
                </a:lnTo>
                <a:lnTo>
                  <a:pt x="565" y="513"/>
                </a:lnTo>
                <a:lnTo>
                  <a:pt x="577" y="514"/>
                </a:lnTo>
                <a:lnTo>
                  <a:pt x="588" y="516"/>
                </a:lnTo>
                <a:lnTo>
                  <a:pt x="600" y="518"/>
                </a:lnTo>
                <a:lnTo>
                  <a:pt x="610" y="521"/>
                </a:lnTo>
                <a:lnTo>
                  <a:pt x="620" y="524"/>
                </a:lnTo>
                <a:lnTo>
                  <a:pt x="631" y="529"/>
                </a:lnTo>
                <a:lnTo>
                  <a:pt x="640" y="533"/>
                </a:lnTo>
                <a:lnTo>
                  <a:pt x="650" y="537"/>
                </a:lnTo>
                <a:lnTo>
                  <a:pt x="660" y="543"/>
                </a:lnTo>
                <a:lnTo>
                  <a:pt x="669" y="548"/>
                </a:lnTo>
                <a:lnTo>
                  <a:pt x="678" y="554"/>
                </a:lnTo>
                <a:lnTo>
                  <a:pt x="686" y="562"/>
                </a:lnTo>
                <a:lnTo>
                  <a:pt x="694" y="568"/>
                </a:lnTo>
                <a:lnTo>
                  <a:pt x="701" y="576"/>
                </a:lnTo>
                <a:lnTo>
                  <a:pt x="713" y="589"/>
                </a:lnTo>
                <a:lnTo>
                  <a:pt x="723" y="603"/>
                </a:lnTo>
                <a:lnTo>
                  <a:pt x="731" y="617"/>
                </a:lnTo>
                <a:lnTo>
                  <a:pt x="739" y="631"/>
                </a:lnTo>
                <a:lnTo>
                  <a:pt x="744" y="646"/>
                </a:lnTo>
                <a:lnTo>
                  <a:pt x="749" y="662"/>
                </a:lnTo>
                <a:lnTo>
                  <a:pt x="751" y="678"/>
                </a:lnTo>
                <a:lnTo>
                  <a:pt x="753" y="694"/>
                </a:lnTo>
                <a:lnTo>
                  <a:pt x="743" y="695"/>
                </a:lnTo>
                <a:lnTo>
                  <a:pt x="734" y="698"/>
                </a:lnTo>
                <a:lnTo>
                  <a:pt x="725" y="701"/>
                </a:lnTo>
                <a:lnTo>
                  <a:pt x="716" y="706"/>
                </a:lnTo>
                <a:lnTo>
                  <a:pt x="709" y="710"/>
                </a:lnTo>
                <a:lnTo>
                  <a:pt x="701" y="715"/>
                </a:lnTo>
                <a:lnTo>
                  <a:pt x="695" y="722"/>
                </a:lnTo>
                <a:lnTo>
                  <a:pt x="689" y="728"/>
                </a:lnTo>
                <a:lnTo>
                  <a:pt x="682" y="736"/>
                </a:lnTo>
                <a:lnTo>
                  <a:pt x="678" y="743"/>
                </a:lnTo>
                <a:lnTo>
                  <a:pt x="672" y="752"/>
                </a:lnTo>
                <a:lnTo>
                  <a:pt x="669" y="760"/>
                </a:lnTo>
                <a:lnTo>
                  <a:pt x="666" y="769"/>
                </a:lnTo>
                <a:lnTo>
                  <a:pt x="664" y="779"/>
                </a:lnTo>
                <a:lnTo>
                  <a:pt x="663" y="788"/>
                </a:lnTo>
                <a:lnTo>
                  <a:pt x="663" y="798"/>
                </a:lnTo>
                <a:lnTo>
                  <a:pt x="663" y="809"/>
                </a:lnTo>
                <a:lnTo>
                  <a:pt x="665" y="819"/>
                </a:lnTo>
                <a:lnTo>
                  <a:pt x="667" y="829"/>
                </a:lnTo>
                <a:lnTo>
                  <a:pt x="670" y="839"/>
                </a:lnTo>
                <a:lnTo>
                  <a:pt x="675" y="848"/>
                </a:lnTo>
                <a:lnTo>
                  <a:pt x="680" y="857"/>
                </a:lnTo>
                <a:lnTo>
                  <a:pt x="686" y="864"/>
                </a:lnTo>
                <a:lnTo>
                  <a:pt x="693" y="872"/>
                </a:lnTo>
                <a:lnTo>
                  <a:pt x="700" y="879"/>
                </a:lnTo>
                <a:lnTo>
                  <a:pt x="709" y="885"/>
                </a:lnTo>
                <a:lnTo>
                  <a:pt x="718" y="890"/>
                </a:lnTo>
                <a:lnTo>
                  <a:pt x="727" y="894"/>
                </a:lnTo>
                <a:lnTo>
                  <a:pt x="737" y="899"/>
                </a:lnTo>
                <a:lnTo>
                  <a:pt x="746" y="901"/>
                </a:lnTo>
                <a:lnTo>
                  <a:pt x="757" y="902"/>
                </a:lnTo>
                <a:lnTo>
                  <a:pt x="768" y="903"/>
                </a:lnTo>
                <a:lnTo>
                  <a:pt x="779" y="902"/>
                </a:lnTo>
                <a:lnTo>
                  <a:pt x="789" y="901"/>
                </a:lnTo>
                <a:lnTo>
                  <a:pt x="799" y="899"/>
                </a:lnTo>
                <a:lnTo>
                  <a:pt x="809" y="894"/>
                </a:lnTo>
                <a:lnTo>
                  <a:pt x="818" y="890"/>
                </a:lnTo>
                <a:lnTo>
                  <a:pt x="827" y="885"/>
                </a:lnTo>
                <a:lnTo>
                  <a:pt x="834" y="879"/>
                </a:lnTo>
                <a:lnTo>
                  <a:pt x="842" y="872"/>
                </a:lnTo>
                <a:lnTo>
                  <a:pt x="849" y="864"/>
                </a:lnTo>
                <a:lnTo>
                  <a:pt x="855" y="857"/>
                </a:lnTo>
                <a:lnTo>
                  <a:pt x="860" y="848"/>
                </a:lnTo>
                <a:lnTo>
                  <a:pt x="864" y="839"/>
                </a:lnTo>
                <a:lnTo>
                  <a:pt x="869" y="829"/>
                </a:lnTo>
                <a:lnTo>
                  <a:pt x="871" y="819"/>
                </a:lnTo>
                <a:lnTo>
                  <a:pt x="873" y="809"/>
                </a:lnTo>
                <a:lnTo>
                  <a:pt x="873" y="798"/>
                </a:lnTo>
                <a:lnTo>
                  <a:pt x="873" y="788"/>
                </a:lnTo>
                <a:lnTo>
                  <a:pt x="871" y="779"/>
                </a:lnTo>
                <a:lnTo>
                  <a:pt x="869" y="769"/>
                </a:lnTo>
                <a:lnTo>
                  <a:pt x="867" y="760"/>
                </a:lnTo>
                <a:lnTo>
                  <a:pt x="862" y="752"/>
                </a:lnTo>
                <a:lnTo>
                  <a:pt x="858" y="743"/>
                </a:lnTo>
                <a:lnTo>
                  <a:pt x="853" y="736"/>
                </a:lnTo>
                <a:lnTo>
                  <a:pt x="847" y="728"/>
                </a:lnTo>
                <a:lnTo>
                  <a:pt x="841" y="722"/>
                </a:lnTo>
                <a:lnTo>
                  <a:pt x="833" y="715"/>
                </a:lnTo>
                <a:lnTo>
                  <a:pt x="826" y="710"/>
                </a:lnTo>
                <a:lnTo>
                  <a:pt x="818" y="706"/>
                </a:lnTo>
                <a:lnTo>
                  <a:pt x="810" y="701"/>
                </a:lnTo>
                <a:lnTo>
                  <a:pt x="801" y="698"/>
                </a:lnTo>
                <a:lnTo>
                  <a:pt x="792" y="695"/>
                </a:lnTo>
                <a:lnTo>
                  <a:pt x="783" y="69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734F38-8732-4983-9801-B26894DBD1C7}"/>
              </a:ext>
            </a:extLst>
          </p:cNvPr>
          <p:cNvSpPr txBox="1"/>
          <p:nvPr/>
        </p:nvSpPr>
        <p:spPr>
          <a:xfrm>
            <a:off x="182479" y="322848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b="1">
                <a:solidFill>
                  <a:schemeClr val="bg1">
                    <a:lumMod val="50000"/>
                  </a:schemeClr>
                </a:solidFill>
                <a:latin typeface="Malgun Gothic"/>
                <a:ea typeface="Malgun Gothic"/>
              </a:rPr>
              <a:t>어떻게 보완할까?</a:t>
            </a:r>
          </a:p>
        </p:txBody>
      </p:sp>
    </p:spTree>
    <p:extLst>
      <p:ext uri="{BB962C8B-B14F-4D97-AF65-F5344CB8AC3E}">
        <p14:creationId xmlns:p14="http://schemas.microsoft.com/office/powerpoint/2010/main" val="4588288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1661993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en-US" sz="5400">
              <a:solidFill>
                <a:schemeClr val="tx1">
                  <a:lumMod val="75000"/>
                  <a:lumOff val="25000"/>
                </a:schemeClr>
              </a:solidFill>
              <a:ea typeface="+mn-lt"/>
              <a:cs typeface="+mn-lt"/>
            </a:endParaRPr>
          </a:p>
          <a:p>
            <a:pPr algn="r"/>
            <a:endParaRPr lang="en-US" sz="5400" b="1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9/4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6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E0C0F18-8629-4814-8D8F-BF9AD8972D5B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96A3873-7D6A-431C-AD88-D2D370A2A932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그림 6" descr="텍스트, 지도이(가) 표시된 사진&#10;&#10;매우 높은 신뢰도로 생성된 설명">
            <a:extLst>
              <a:ext uri="{FF2B5EF4-FFF2-40B4-BE49-F238E27FC236}">
                <a16:creationId xmlns:a16="http://schemas.microsoft.com/office/drawing/2014/main" id="{754D5972-78C3-40A0-A22D-4D15892CF5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0138" y="1496275"/>
            <a:ext cx="6542154" cy="4539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1434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1661993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en-US" sz="5400">
              <a:solidFill>
                <a:schemeClr val="tx1">
                  <a:lumMod val="75000"/>
                  <a:lumOff val="25000"/>
                </a:schemeClr>
              </a:solidFill>
              <a:ea typeface="+mn-lt"/>
              <a:cs typeface="+mn-lt"/>
            </a:endParaRPr>
          </a:p>
          <a:p>
            <a:pPr algn="r"/>
            <a:endParaRPr lang="en-US" sz="5400" b="1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9/4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7</a:t>
            </a:fld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96A3873-7D6A-431C-AD88-D2D370A2A932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F4B4AC2-5D1E-4425-80F3-0B4B4DDD1D07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그림 6" descr="텍스트, 지도이(가) 표시된 사진&#10;&#10;매우 높은 신뢰도로 생성된 설명">
            <a:extLst>
              <a:ext uri="{FF2B5EF4-FFF2-40B4-BE49-F238E27FC236}">
                <a16:creationId xmlns:a16="http://schemas.microsoft.com/office/drawing/2014/main" id="{5B5C4CFE-F3D4-44E6-8BDF-17AE7AD0A9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0139" y="1496275"/>
            <a:ext cx="6531112" cy="4539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003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1661993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en-US" sz="5400">
              <a:solidFill>
                <a:schemeClr val="tx1">
                  <a:lumMod val="75000"/>
                  <a:lumOff val="25000"/>
                </a:schemeClr>
              </a:solidFill>
              <a:ea typeface="+mn-lt"/>
              <a:cs typeface="+mn-lt"/>
            </a:endParaRPr>
          </a:p>
          <a:p>
            <a:pPr algn="r"/>
            <a:endParaRPr lang="en-US" sz="5400" b="1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9/4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8</a:t>
            </a:fld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96A3873-7D6A-431C-AD88-D2D370A2A932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1844607-FDC2-4A34-B2DD-AEED90031745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그림 7" descr="텍스트이(가) 표시된 사진&#10;&#10;매우 높은 신뢰도로 생성된 설명">
            <a:extLst>
              <a:ext uri="{FF2B5EF4-FFF2-40B4-BE49-F238E27FC236}">
                <a16:creationId xmlns:a16="http://schemas.microsoft.com/office/drawing/2014/main" id="{CB0DEED6-5D5D-4B2C-A2D4-EBA7702CCF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0139" y="1496275"/>
            <a:ext cx="6520068" cy="4539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9916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ko-KR" alt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9/4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9</a:t>
            </a:fld>
            <a:endParaRPr lang="en-US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5F7A6BD0-F852-4C81-A17B-4FAFA110D642}"/>
              </a:ext>
            </a:extLst>
          </p:cNvPr>
          <p:cNvSpPr txBox="1"/>
          <p:nvPr/>
        </p:nvSpPr>
        <p:spPr>
          <a:xfrm>
            <a:off x="6027302" y="1418328"/>
            <a:ext cx="856862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360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094FC08E-15E8-40F3-8E91-2AB7B3895C92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68239BB-4422-4432-AADE-4E2B522B0F9D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그림 7" descr="텍스트, 지도이(가) 표시된 사진&#10;&#10;매우 높은 신뢰도로 생성된 설명">
            <a:extLst>
              <a:ext uri="{FF2B5EF4-FFF2-40B4-BE49-F238E27FC236}">
                <a16:creationId xmlns:a16="http://schemas.microsoft.com/office/drawing/2014/main" id="{2836756C-C260-43B4-B2D5-E99BAD3E11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0140" y="1496275"/>
            <a:ext cx="6531112" cy="4539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4015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Custom 4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6B6B"/>
      </a:accent1>
      <a:accent2>
        <a:srgbClr val="556270"/>
      </a:accent2>
      <a:accent3>
        <a:srgbClr val="280E32"/>
      </a:accent3>
      <a:accent4>
        <a:srgbClr val="FF6B6B"/>
      </a:accent4>
      <a:accent5>
        <a:srgbClr val="556270"/>
      </a:accent5>
      <a:accent6>
        <a:srgbClr val="280E32"/>
      </a:accent6>
      <a:hlink>
        <a:srgbClr val="0563C1"/>
      </a:hlink>
      <a:folHlink>
        <a:srgbClr val="954F72"/>
      </a:folHlink>
    </a:clrScheme>
    <a:fontScheme name="Tw Cen MT-Rockwell">
      <a:majorFont>
        <a:latin typeface="Tw Cen MT" panose="020B0602020104020603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Rockwell" panose="02060603020205020403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Application>Microsoft Office PowerPoint</Application>
  <PresentationFormat>와이드스크린</PresentationFormat>
  <Slides>13</Slides>
  <Notes>1</Notes>
  <HiddenSlides>0</HiddenSlide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3</vt:i4>
      </vt:variant>
    </vt:vector>
  </HeadingPairs>
  <TitlesOfParts>
    <vt:vector size="14" baseType="lpstr">
      <vt:lpstr>Office Them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risnawanugroho</dc:creator>
  <cp:revision>295</cp:revision>
  <dcterms:created xsi:type="dcterms:W3CDTF">2019-02-15T09:30:38Z</dcterms:created>
  <dcterms:modified xsi:type="dcterms:W3CDTF">2019-09-04T17:53:17Z</dcterms:modified>
</cp:coreProperties>
</file>